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1"/>
  </p:sldMasterIdLst>
  <p:notesMasterIdLst>
    <p:notesMasterId r:id="rId26"/>
  </p:notesMasterIdLst>
  <p:sldIdLst>
    <p:sldId id="299" r:id="rId2"/>
    <p:sldId id="331" r:id="rId3"/>
    <p:sldId id="339" r:id="rId4"/>
    <p:sldId id="340" r:id="rId5"/>
    <p:sldId id="346" r:id="rId6"/>
    <p:sldId id="341" r:id="rId7"/>
    <p:sldId id="347" r:id="rId8"/>
    <p:sldId id="342" r:id="rId9"/>
    <p:sldId id="348" r:id="rId10"/>
    <p:sldId id="352" r:id="rId11"/>
    <p:sldId id="353" r:id="rId12"/>
    <p:sldId id="343" r:id="rId13"/>
    <p:sldId id="293" r:id="rId14"/>
    <p:sldId id="314" r:id="rId15"/>
    <p:sldId id="294" r:id="rId16"/>
    <p:sldId id="365" r:id="rId17"/>
    <p:sldId id="344" r:id="rId18"/>
    <p:sldId id="358" r:id="rId19"/>
    <p:sldId id="345" r:id="rId20"/>
    <p:sldId id="359" r:id="rId21"/>
    <p:sldId id="360" r:id="rId22"/>
    <p:sldId id="363" r:id="rId23"/>
    <p:sldId id="364" r:id="rId24"/>
    <p:sldId id="335" r:id="rId25"/>
  </p:sldIdLst>
  <p:sldSz cx="12192000" cy="6858000"/>
  <p:notesSz cx="7099300" cy="10234613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FFCC00"/>
    <a:srgbClr val="AF272F"/>
    <a:srgbClr val="70AD47"/>
    <a:srgbClr val="C0C0C0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2DABA7-9499-45F5-BFAC-3D24A0D195FD}" v="14" dt="2023-06-15T07:34:12.2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75" autoAdjust="0"/>
    <p:restoredTop sz="94660"/>
  </p:normalViewPr>
  <p:slideViewPr>
    <p:cSldViewPr snapToGrid="0">
      <p:cViewPr>
        <p:scale>
          <a:sx n="125" d="100"/>
          <a:sy n="125" d="100"/>
        </p:scale>
        <p:origin x="2152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achim Fernandes" userId="250c3822-0159-4dbe-ace6-6feb7232d324" providerId="ADAL" clId="{F32DABA7-9499-45F5-BFAC-3D24A0D195FD}"/>
    <pc:docChg chg="undo custSel addSld delSld modSld">
      <pc:chgData name="Joachim Fernandes" userId="250c3822-0159-4dbe-ace6-6feb7232d324" providerId="ADAL" clId="{F32DABA7-9499-45F5-BFAC-3D24A0D195FD}" dt="2023-06-15T07:35:57.956" v="696" actId="20577"/>
      <pc:docMkLst>
        <pc:docMk/>
      </pc:docMkLst>
      <pc:sldChg chg="modSp add mod">
        <pc:chgData name="Joachim Fernandes" userId="250c3822-0159-4dbe-ace6-6feb7232d324" providerId="ADAL" clId="{F32DABA7-9499-45F5-BFAC-3D24A0D195FD}" dt="2023-06-15T07:31:14.023" v="591" actId="20577"/>
        <pc:sldMkLst>
          <pc:docMk/>
          <pc:sldMk cId="2837286306" sldId="293"/>
        </pc:sldMkLst>
        <pc:spChg chg="mod">
          <ac:chgData name="Joachim Fernandes" userId="250c3822-0159-4dbe-ace6-6feb7232d324" providerId="ADAL" clId="{F32DABA7-9499-45F5-BFAC-3D24A0D195FD}" dt="2023-06-15T07:31:14.023" v="591" actId="20577"/>
          <ac:spMkLst>
            <pc:docMk/>
            <pc:sldMk cId="2837286306" sldId="293"/>
            <ac:spMk id="12" creationId="{9F7D5C10-C1DF-4EE9-B061-DF9FD5FDC091}"/>
          </ac:spMkLst>
        </pc:spChg>
        <pc:spChg chg="mod">
          <ac:chgData name="Joachim Fernandes" userId="250c3822-0159-4dbe-ace6-6feb7232d324" providerId="ADAL" clId="{F32DABA7-9499-45F5-BFAC-3D24A0D195FD}" dt="2023-06-14T16:25:40.303" v="473" actId="20577"/>
          <ac:spMkLst>
            <pc:docMk/>
            <pc:sldMk cId="2837286306" sldId="293"/>
            <ac:spMk id="14" creationId="{341A37BA-C63A-4DB3-805B-28C779F1665C}"/>
          </ac:spMkLst>
        </pc:spChg>
      </pc:sldChg>
      <pc:sldChg chg="addSp delSp modSp add mod">
        <pc:chgData name="Joachim Fernandes" userId="250c3822-0159-4dbe-ace6-6feb7232d324" providerId="ADAL" clId="{F32DABA7-9499-45F5-BFAC-3D24A0D195FD}" dt="2023-06-15T07:34:49.296" v="633" actId="1076"/>
        <pc:sldMkLst>
          <pc:docMk/>
          <pc:sldMk cId="2366406484" sldId="294"/>
        </pc:sldMkLst>
        <pc:spChg chg="del">
          <ac:chgData name="Joachim Fernandes" userId="250c3822-0159-4dbe-ace6-6feb7232d324" providerId="ADAL" clId="{F32DABA7-9499-45F5-BFAC-3D24A0D195FD}" dt="2023-06-15T07:31:49.591" v="608" actId="478"/>
          <ac:spMkLst>
            <pc:docMk/>
            <pc:sldMk cId="2366406484" sldId="294"/>
            <ac:spMk id="9" creationId="{C36048F8-6685-474F-84A7-FE40C36D853F}"/>
          </ac:spMkLst>
        </pc:spChg>
        <pc:spChg chg="mod">
          <ac:chgData name="Joachim Fernandes" userId="250c3822-0159-4dbe-ace6-6feb7232d324" providerId="ADAL" clId="{F32DABA7-9499-45F5-BFAC-3D24A0D195FD}" dt="2023-06-15T07:31:42.002" v="607" actId="20577"/>
          <ac:spMkLst>
            <pc:docMk/>
            <pc:sldMk cId="2366406484" sldId="294"/>
            <ac:spMk id="12" creationId="{9F7D5C10-C1DF-4EE9-B061-DF9FD5FDC091}"/>
          </ac:spMkLst>
        </pc:spChg>
        <pc:graphicFrameChg chg="mod">
          <ac:chgData name="Joachim Fernandes" userId="250c3822-0159-4dbe-ace6-6feb7232d324" providerId="ADAL" clId="{F32DABA7-9499-45F5-BFAC-3D24A0D195FD}" dt="2023-06-15T07:34:49.296" v="633" actId="1076"/>
          <ac:graphicFrameMkLst>
            <pc:docMk/>
            <pc:sldMk cId="2366406484" sldId="294"/>
            <ac:graphicFrameMk id="3" creationId="{39A68435-44A4-26D0-DE4D-E31309186BFF}"/>
          </ac:graphicFrameMkLst>
        </pc:graphicFrameChg>
        <pc:graphicFrameChg chg="mod">
          <ac:chgData name="Joachim Fernandes" userId="250c3822-0159-4dbe-ace6-6feb7232d324" providerId="ADAL" clId="{F32DABA7-9499-45F5-BFAC-3D24A0D195FD}" dt="2023-06-15T07:34:49.296" v="633" actId="1076"/>
          <ac:graphicFrameMkLst>
            <pc:docMk/>
            <pc:sldMk cId="2366406484" sldId="294"/>
            <ac:graphicFrameMk id="4" creationId="{4302F992-349D-86C9-8FF1-250477CEEDC0}"/>
          </ac:graphicFrameMkLst>
        </pc:graphicFrameChg>
        <pc:graphicFrameChg chg="mod modGraphic">
          <ac:chgData name="Joachim Fernandes" userId="250c3822-0159-4dbe-ace6-6feb7232d324" providerId="ADAL" clId="{F32DABA7-9499-45F5-BFAC-3D24A0D195FD}" dt="2023-06-15T07:31:58.485" v="610" actId="14100"/>
          <ac:graphicFrameMkLst>
            <pc:docMk/>
            <pc:sldMk cId="2366406484" sldId="294"/>
            <ac:graphicFrameMk id="10" creationId="{5B5B6A66-E3DD-4D6D-9B74-8CB5BFE0C85D}"/>
          </ac:graphicFrameMkLst>
        </pc:graphicFrameChg>
        <pc:picChg chg="add del mod">
          <ac:chgData name="Joachim Fernandes" userId="250c3822-0159-4dbe-ace6-6feb7232d324" providerId="ADAL" clId="{F32DABA7-9499-45F5-BFAC-3D24A0D195FD}" dt="2023-06-15T07:34:23.020" v="617" actId="478"/>
          <ac:picMkLst>
            <pc:docMk/>
            <pc:sldMk cId="2366406484" sldId="294"/>
            <ac:picMk id="2" creationId="{CDAF000A-8AF8-48F3-E729-7BE23ACFF407}"/>
          </ac:picMkLst>
        </pc:picChg>
      </pc:sldChg>
      <pc:sldChg chg="modSp mod">
        <pc:chgData name="Joachim Fernandes" userId="250c3822-0159-4dbe-ace6-6feb7232d324" providerId="ADAL" clId="{F32DABA7-9499-45F5-BFAC-3D24A0D195FD}" dt="2023-06-14T14:35:48.945" v="12" actId="20577"/>
        <pc:sldMkLst>
          <pc:docMk/>
          <pc:sldMk cId="3871465766" sldId="299"/>
        </pc:sldMkLst>
        <pc:spChg chg="mod">
          <ac:chgData name="Joachim Fernandes" userId="250c3822-0159-4dbe-ace6-6feb7232d324" providerId="ADAL" clId="{F32DABA7-9499-45F5-BFAC-3D24A0D195FD}" dt="2023-06-14T14:35:48.945" v="12" actId="20577"/>
          <ac:spMkLst>
            <pc:docMk/>
            <pc:sldMk cId="3871465766" sldId="299"/>
            <ac:spMk id="4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4T14:35:37.698" v="1" actId="20577"/>
          <ac:spMkLst>
            <pc:docMk/>
            <pc:sldMk cId="3871465766" sldId="299"/>
            <ac:spMk id="6" creationId="{00000000-0000-0000-0000-000000000000}"/>
          </ac:spMkLst>
        </pc:spChg>
      </pc:sldChg>
      <pc:sldChg chg="modSp add mod">
        <pc:chgData name="Joachim Fernandes" userId="250c3822-0159-4dbe-ace6-6feb7232d324" providerId="ADAL" clId="{F32DABA7-9499-45F5-BFAC-3D24A0D195FD}" dt="2023-06-15T07:31:37.306" v="604" actId="20577"/>
        <pc:sldMkLst>
          <pc:docMk/>
          <pc:sldMk cId="3388354517" sldId="314"/>
        </pc:sldMkLst>
        <pc:spChg chg="mod">
          <ac:chgData name="Joachim Fernandes" userId="250c3822-0159-4dbe-ace6-6feb7232d324" providerId="ADAL" clId="{F32DABA7-9499-45F5-BFAC-3D24A0D195FD}" dt="2023-06-15T07:31:37.306" v="604" actId="20577"/>
          <ac:spMkLst>
            <pc:docMk/>
            <pc:sldMk cId="3388354517" sldId="314"/>
            <ac:spMk id="12" creationId="{9F7D5C10-C1DF-4EE9-B061-DF9FD5FDC091}"/>
          </ac:spMkLst>
        </pc:spChg>
        <pc:spChg chg="mod">
          <ac:chgData name="Joachim Fernandes" userId="250c3822-0159-4dbe-ace6-6feb7232d324" providerId="ADAL" clId="{F32DABA7-9499-45F5-BFAC-3D24A0D195FD}" dt="2023-06-14T16:26:02.907" v="474" actId="20577"/>
          <ac:spMkLst>
            <pc:docMk/>
            <pc:sldMk cId="3388354517" sldId="314"/>
            <ac:spMk id="14" creationId="{AEFCA400-AE9D-4530-A289-246610E7A94B}"/>
          </ac:spMkLst>
        </pc:spChg>
      </pc:sldChg>
      <pc:sldChg chg="modSp mod">
        <pc:chgData name="Joachim Fernandes" userId="250c3822-0159-4dbe-ace6-6feb7232d324" providerId="ADAL" clId="{F32DABA7-9499-45F5-BFAC-3D24A0D195FD}" dt="2023-06-14T14:36:41.698" v="24" actId="20577"/>
        <pc:sldMkLst>
          <pc:docMk/>
          <pc:sldMk cId="1488385534" sldId="331"/>
        </pc:sldMkLst>
        <pc:spChg chg="mod">
          <ac:chgData name="Joachim Fernandes" userId="250c3822-0159-4dbe-ace6-6feb7232d324" providerId="ADAL" clId="{F32DABA7-9499-45F5-BFAC-3D24A0D195FD}" dt="2023-06-14T14:36:41.698" v="24" actId="20577"/>
          <ac:spMkLst>
            <pc:docMk/>
            <pc:sldMk cId="1488385534" sldId="331"/>
            <ac:spMk id="3" creationId="{00000000-0000-0000-0000-000000000000}"/>
          </ac:spMkLst>
        </pc:spChg>
      </pc:sldChg>
      <pc:sldChg chg="modSp mod">
        <pc:chgData name="Joachim Fernandes" userId="250c3822-0159-4dbe-ace6-6feb7232d324" providerId="ADAL" clId="{F32DABA7-9499-45F5-BFAC-3D24A0D195FD}" dt="2023-06-14T14:36:21.595" v="14" actId="20577"/>
        <pc:sldMkLst>
          <pc:docMk/>
          <pc:sldMk cId="1674913789" sldId="341"/>
        </pc:sldMkLst>
        <pc:spChg chg="mod">
          <ac:chgData name="Joachim Fernandes" userId="250c3822-0159-4dbe-ace6-6feb7232d324" providerId="ADAL" clId="{F32DABA7-9499-45F5-BFAC-3D24A0D195FD}" dt="2023-06-14T14:36:21.595" v="14" actId="20577"/>
          <ac:spMkLst>
            <pc:docMk/>
            <pc:sldMk cId="1674913789" sldId="341"/>
            <ac:spMk id="2" creationId="{00000000-0000-0000-0000-000000000000}"/>
          </ac:spMkLst>
        </pc:spChg>
      </pc:sldChg>
      <pc:sldChg chg="addSp delSp mod">
        <pc:chgData name="Joachim Fernandes" userId="250c3822-0159-4dbe-ace6-6feb7232d324" providerId="ADAL" clId="{F32DABA7-9499-45F5-BFAC-3D24A0D195FD}" dt="2023-06-14T15:33:35.392" v="463" actId="22"/>
        <pc:sldMkLst>
          <pc:docMk/>
          <pc:sldMk cId="291091076" sldId="343"/>
        </pc:sldMkLst>
        <pc:spChg chg="add del">
          <ac:chgData name="Joachim Fernandes" userId="250c3822-0159-4dbe-ace6-6feb7232d324" providerId="ADAL" clId="{F32DABA7-9499-45F5-BFAC-3D24A0D195FD}" dt="2023-06-14T15:33:35.392" v="463" actId="22"/>
          <ac:spMkLst>
            <pc:docMk/>
            <pc:sldMk cId="291091076" sldId="343"/>
            <ac:spMk id="4" creationId="{C6E3406B-A160-D07C-430D-E8FE1840E938}"/>
          </ac:spMkLst>
        </pc:spChg>
      </pc:sldChg>
      <pc:sldChg chg="modSp mod">
        <pc:chgData name="Joachim Fernandes" userId="250c3822-0159-4dbe-ace6-6feb7232d324" providerId="ADAL" clId="{F32DABA7-9499-45F5-BFAC-3D24A0D195FD}" dt="2023-06-14T14:50:29.914" v="65" actId="20577"/>
        <pc:sldMkLst>
          <pc:docMk/>
          <pc:sldMk cId="399966466" sldId="344"/>
        </pc:sldMkLst>
        <pc:spChg chg="mod">
          <ac:chgData name="Joachim Fernandes" userId="250c3822-0159-4dbe-ace6-6feb7232d324" providerId="ADAL" clId="{F32DABA7-9499-45F5-BFAC-3D24A0D195FD}" dt="2023-06-14T14:50:29.914" v="65" actId="20577"/>
          <ac:spMkLst>
            <pc:docMk/>
            <pc:sldMk cId="399966466" sldId="344"/>
            <ac:spMk id="2" creationId="{00000000-0000-0000-0000-000000000000}"/>
          </ac:spMkLst>
        </pc:spChg>
      </pc:sldChg>
      <pc:sldChg chg="modSp mod">
        <pc:chgData name="Joachim Fernandes" userId="250c3822-0159-4dbe-ace6-6feb7232d324" providerId="ADAL" clId="{F32DABA7-9499-45F5-BFAC-3D24A0D195FD}" dt="2023-06-14T14:50:53.179" v="67" actId="20577"/>
        <pc:sldMkLst>
          <pc:docMk/>
          <pc:sldMk cId="612578952" sldId="345"/>
        </pc:sldMkLst>
        <pc:spChg chg="mod">
          <ac:chgData name="Joachim Fernandes" userId="250c3822-0159-4dbe-ace6-6feb7232d324" providerId="ADAL" clId="{F32DABA7-9499-45F5-BFAC-3D24A0D195FD}" dt="2023-06-14T14:50:53.179" v="67" actId="20577"/>
          <ac:spMkLst>
            <pc:docMk/>
            <pc:sldMk cId="612578952" sldId="345"/>
            <ac:spMk id="2" creationId="{00000000-0000-0000-0000-000000000000}"/>
          </ac:spMkLst>
        </pc:spChg>
      </pc:sldChg>
      <pc:sldChg chg="addSp delSp modSp mod">
        <pc:chgData name="Joachim Fernandes" userId="250c3822-0159-4dbe-ace6-6feb7232d324" providerId="ADAL" clId="{F32DABA7-9499-45F5-BFAC-3D24A0D195FD}" dt="2023-06-14T14:41:25.050" v="50" actId="14100"/>
        <pc:sldMkLst>
          <pc:docMk/>
          <pc:sldMk cId="826262736" sldId="347"/>
        </pc:sldMkLst>
        <pc:spChg chg="mod">
          <ac:chgData name="Joachim Fernandes" userId="250c3822-0159-4dbe-ace6-6feb7232d324" providerId="ADAL" clId="{F32DABA7-9499-45F5-BFAC-3D24A0D195FD}" dt="2023-06-14T14:36:56.682" v="26" actId="20577"/>
          <ac:spMkLst>
            <pc:docMk/>
            <pc:sldMk cId="826262736" sldId="347"/>
            <ac:spMk id="2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4:37:07.713" v="27" actId="478"/>
          <ac:spMkLst>
            <pc:docMk/>
            <pc:sldMk cId="826262736" sldId="347"/>
            <ac:spMk id="4" creationId="{00000000-0000-0000-0000-000000000000}"/>
          </ac:spMkLst>
        </pc:spChg>
        <pc:spChg chg="add del mod">
          <ac:chgData name="Joachim Fernandes" userId="250c3822-0159-4dbe-ace6-6feb7232d324" providerId="ADAL" clId="{F32DABA7-9499-45F5-BFAC-3D24A0D195FD}" dt="2023-06-14T14:37:09.095" v="28" actId="478"/>
          <ac:spMkLst>
            <pc:docMk/>
            <pc:sldMk cId="826262736" sldId="347"/>
            <ac:spMk id="5" creationId="{A05DD787-BD9A-E537-125B-E02B24B07D03}"/>
          </ac:spMkLst>
        </pc:spChg>
        <pc:picChg chg="add mod ord">
          <ac:chgData name="Joachim Fernandes" userId="250c3822-0159-4dbe-ace6-6feb7232d324" providerId="ADAL" clId="{F32DABA7-9499-45F5-BFAC-3D24A0D195FD}" dt="2023-06-14T14:39:53.416" v="36" actId="14861"/>
          <ac:picMkLst>
            <pc:docMk/>
            <pc:sldMk cId="826262736" sldId="347"/>
            <ac:picMk id="7" creationId="{2A20CD75-7599-19C8-6258-442C5C4178E3}"/>
          </ac:picMkLst>
        </pc:picChg>
        <pc:picChg chg="del mod">
          <ac:chgData name="Joachim Fernandes" userId="250c3822-0159-4dbe-ace6-6feb7232d324" providerId="ADAL" clId="{F32DABA7-9499-45F5-BFAC-3D24A0D195FD}" dt="2023-06-14T14:39:44.194" v="35" actId="478"/>
          <ac:picMkLst>
            <pc:docMk/>
            <pc:sldMk cId="826262736" sldId="347"/>
            <ac:picMk id="9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4T14:40:45.053" v="43" actId="478"/>
          <ac:picMkLst>
            <pc:docMk/>
            <pc:sldMk cId="826262736" sldId="347"/>
            <ac:picMk id="10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4T14:41:18.182" v="49" actId="478"/>
          <ac:picMkLst>
            <pc:docMk/>
            <pc:sldMk cId="826262736" sldId="347"/>
            <ac:picMk id="11" creationId="{00000000-0000-0000-0000-000000000000}"/>
          </ac:picMkLst>
        </pc:picChg>
        <pc:picChg chg="add mod ord">
          <ac:chgData name="Joachim Fernandes" userId="250c3822-0159-4dbe-ace6-6feb7232d324" providerId="ADAL" clId="{F32DABA7-9499-45F5-BFAC-3D24A0D195FD}" dt="2023-06-14T14:40:41.322" v="42" actId="167"/>
          <ac:picMkLst>
            <pc:docMk/>
            <pc:sldMk cId="826262736" sldId="347"/>
            <ac:picMk id="12" creationId="{BD08E601-2F52-3045-140F-FB7ED35884E6}"/>
          </ac:picMkLst>
        </pc:picChg>
        <pc:picChg chg="add mod">
          <ac:chgData name="Joachim Fernandes" userId="250c3822-0159-4dbe-ace6-6feb7232d324" providerId="ADAL" clId="{F32DABA7-9499-45F5-BFAC-3D24A0D195FD}" dt="2023-06-14T14:41:25.050" v="50" actId="14100"/>
          <ac:picMkLst>
            <pc:docMk/>
            <pc:sldMk cId="826262736" sldId="347"/>
            <ac:picMk id="14" creationId="{7E460A00-5C93-EC15-4A8D-5C9E94F1A80F}"/>
          </ac:picMkLst>
        </pc:picChg>
      </pc:sldChg>
      <pc:sldChg chg="addSp delSp modSp mod">
        <pc:chgData name="Joachim Fernandes" userId="250c3822-0159-4dbe-ace6-6feb7232d324" providerId="ADAL" clId="{F32DABA7-9499-45F5-BFAC-3D24A0D195FD}" dt="2023-06-14T14:45:11.121" v="60" actId="207"/>
        <pc:sldMkLst>
          <pc:docMk/>
          <pc:sldMk cId="1383734397" sldId="348"/>
        </pc:sldMkLst>
        <pc:spChg chg="mod">
          <ac:chgData name="Joachim Fernandes" userId="250c3822-0159-4dbe-ace6-6feb7232d324" providerId="ADAL" clId="{F32DABA7-9499-45F5-BFAC-3D24A0D195FD}" dt="2023-06-14T14:41:37.210" v="52" actId="20577"/>
          <ac:spMkLst>
            <pc:docMk/>
            <pc:sldMk cId="1383734397" sldId="348"/>
            <ac:spMk id="2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4T14:42:23.005" v="53"/>
          <ac:spMkLst>
            <pc:docMk/>
            <pc:sldMk cId="1383734397" sldId="348"/>
            <ac:spMk id="4" creationId="{00000000-0000-0000-0000-000000000000}"/>
          </ac:spMkLst>
        </pc:spChg>
        <pc:graphicFrameChg chg="add mod modGraphic">
          <ac:chgData name="Joachim Fernandes" userId="250c3822-0159-4dbe-ace6-6feb7232d324" providerId="ADAL" clId="{F32DABA7-9499-45F5-BFAC-3D24A0D195FD}" dt="2023-06-14T14:45:11.121" v="60" actId="207"/>
          <ac:graphicFrameMkLst>
            <pc:docMk/>
            <pc:sldMk cId="1383734397" sldId="348"/>
            <ac:graphicFrameMk id="3" creationId="{47BC055D-74FD-795C-9271-972DC6E9F6EF}"/>
          </ac:graphicFrameMkLst>
        </pc:graphicFrameChg>
        <pc:graphicFrameChg chg="del">
          <ac:chgData name="Joachim Fernandes" userId="250c3822-0159-4dbe-ace6-6feb7232d324" providerId="ADAL" clId="{F32DABA7-9499-45F5-BFAC-3D24A0D195FD}" dt="2023-06-14T14:44:00.916" v="54" actId="478"/>
          <ac:graphicFrameMkLst>
            <pc:docMk/>
            <pc:sldMk cId="1383734397" sldId="348"/>
            <ac:graphicFrameMk id="5" creationId="{00000000-0000-0000-0000-000000000000}"/>
          </ac:graphicFrameMkLst>
        </pc:graphicFrameChg>
      </pc:sldChg>
      <pc:sldChg chg="del">
        <pc:chgData name="Joachim Fernandes" userId="250c3822-0159-4dbe-ace6-6feb7232d324" providerId="ADAL" clId="{F32DABA7-9499-45F5-BFAC-3D24A0D195FD}" dt="2023-06-14T14:46:25.693" v="61" actId="47"/>
        <pc:sldMkLst>
          <pc:docMk/>
          <pc:sldMk cId="1939091730" sldId="349"/>
        </pc:sldMkLst>
      </pc:sldChg>
      <pc:sldChg chg="addSp delSp modSp mod">
        <pc:chgData name="Joachim Fernandes" userId="250c3822-0159-4dbe-ace6-6feb7232d324" providerId="ADAL" clId="{F32DABA7-9499-45F5-BFAC-3D24A0D195FD}" dt="2023-06-15T07:24:04.551" v="562" actId="20577"/>
        <pc:sldMkLst>
          <pc:docMk/>
          <pc:sldMk cId="894059851" sldId="352"/>
        </pc:sldMkLst>
        <pc:spChg chg="mod">
          <ac:chgData name="Joachim Fernandes" userId="250c3822-0159-4dbe-ace6-6feb7232d324" providerId="ADAL" clId="{F32DABA7-9499-45F5-BFAC-3D24A0D195FD}" dt="2023-06-14T14:46:33.335" v="63" actId="20577"/>
          <ac:spMkLst>
            <pc:docMk/>
            <pc:sldMk cId="894059851" sldId="352"/>
            <ac:spMk id="4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29:34.509" v="407" actId="1076"/>
          <ac:spMkLst>
            <pc:docMk/>
            <pc:sldMk cId="894059851" sldId="352"/>
            <ac:spMk id="5" creationId="{59CE6712-22A1-67DF-CAE5-980F53782465}"/>
          </ac:spMkLst>
        </pc:spChg>
        <pc:spChg chg="mod">
          <ac:chgData name="Joachim Fernandes" userId="250c3822-0159-4dbe-ace6-6feb7232d324" providerId="ADAL" clId="{F32DABA7-9499-45F5-BFAC-3D24A0D195FD}" dt="2023-06-14T15:30:04.116" v="460" actId="20577"/>
          <ac:spMkLst>
            <pc:docMk/>
            <pc:sldMk cId="894059851" sldId="352"/>
            <ac:spMk id="6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29:30.874" v="406" actId="1076"/>
          <ac:spMkLst>
            <pc:docMk/>
            <pc:sldMk cId="894059851" sldId="352"/>
            <ac:spMk id="14" creationId="{D437E40D-7C9F-B83D-4E74-374003E76072}"/>
          </ac:spMkLst>
        </pc:spChg>
        <pc:spChg chg="add mod">
          <ac:chgData name="Joachim Fernandes" userId="250c3822-0159-4dbe-ace6-6feb7232d324" providerId="ADAL" clId="{F32DABA7-9499-45F5-BFAC-3D24A0D195FD}" dt="2023-06-14T15:29:28.725" v="405" actId="1076"/>
          <ac:spMkLst>
            <pc:docMk/>
            <pc:sldMk cId="894059851" sldId="352"/>
            <ac:spMk id="15" creationId="{54E8C1F7-111A-3CAF-99FC-BF81DFAC9713}"/>
          </ac:spMkLst>
        </pc:spChg>
        <pc:spChg chg="del">
          <ac:chgData name="Joachim Fernandes" userId="250c3822-0159-4dbe-ace6-6feb7232d324" providerId="ADAL" clId="{F32DABA7-9499-45F5-BFAC-3D24A0D195FD}" dt="2023-06-14T15:29:17.244" v="401" actId="478"/>
          <ac:spMkLst>
            <pc:docMk/>
            <pc:sldMk cId="894059851" sldId="352"/>
            <ac:spMk id="29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29:17.244" v="401" actId="478"/>
          <ac:spMkLst>
            <pc:docMk/>
            <pc:sldMk cId="894059851" sldId="352"/>
            <ac:spMk id="30" creationId="{00000000-0000-0000-0000-000000000000}"/>
          </ac:spMkLst>
        </pc:spChg>
        <pc:grpChg chg="del">
          <ac:chgData name="Joachim Fernandes" userId="250c3822-0159-4dbe-ace6-6feb7232d324" providerId="ADAL" clId="{F32DABA7-9499-45F5-BFAC-3D24A0D195FD}" dt="2023-06-14T15:29:17.244" v="401" actId="478"/>
          <ac:grpSpMkLst>
            <pc:docMk/>
            <pc:sldMk cId="894059851" sldId="352"/>
            <ac:grpSpMk id="25" creationId="{00000000-0000-0000-0000-000000000000}"/>
          </ac:grpSpMkLst>
        </pc:grpChg>
        <pc:graphicFrameChg chg="modGraphic">
          <ac:chgData name="Joachim Fernandes" userId="250c3822-0159-4dbe-ace6-6feb7232d324" providerId="ADAL" clId="{F32DABA7-9499-45F5-BFAC-3D24A0D195FD}" dt="2023-06-15T07:24:04.551" v="562" actId="20577"/>
          <ac:graphicFrameMkLst>
            <pc:docMk/>
            <pc:sldMk cId="894059851" sldId="352"/>
            <ac:graphicFrameMk id="13" creationId="{00000000-0000-0000-0000-000000000000}"/>
          </ac:graphicFrameMkLst>
        </pc:graphicFrameChg>
        <pc:picChg chg="add mod ord">
          <ac:chgData name="Joachim Fernandes" userId="250c3822-0159-4dbe-ace6-6feb7232d324" providerId="ADAL" clId="{F32DABA7-9499-45F5-BFAC-3D24A0D195FD}" dt="2023-06-14T15:27:42.404" v="375" actId="167"/>
          <ac:picMkLst>
            <pc:docMk/>
            <pc:sldMk cId="894059851" sldId="352"/>
            <ac:picMk id="3" creationId="{210B0029-3FDE-9AB6-36BF-CAC263ACC4DC}"/>
          </ac:picMkLst>
        </pc:picChg>
        <pc:picChg chg="del">
          <ac:chgData name="Joachim Fernandes" userId="250c3822-0159-4dbe-ace6-6feb7232d324" providerId="ADAL" clId="{F32DABA7-9499-45F5-BFAC-3D24A0D195FD}" dt="2023-06-14T15:27:44.295" v="376" actId="478"/>
          <ac:picMkLst>
            <pc:docMk/>
            <pc:sldMk cId="894059851" sldId="352"/>
            <ac:picMk id="28" creationId="{00000000-0000-0000-0000-000000000000}"/>
          </ac:picMkLst>
        </pc:picChg>
      </pc:sldChg>
      <pc:sldChg chg="addSp delSp modSp mod">
        <pc:chgData name="Joachim Fernandes" userId="250c3822-0159-4dbe-ace6-6feb7232d324" providerId="ADAL" clId="{F32DABA7-9499-45F5-BFAC-3D24A0D195FD}" dt="2023-06-15T07:34:01.120" v="615" actId="14861"/>
        <pc:sldMkLst>
          <pc:docMk/>
          <pc:sldMk cId="1929311418" sldId="353"/>
        </pc:sldMkLst>
        <pc:spChg chg="mod">
          <ac:chgData name="Joachim Fernandes" userId="250c3822-0159-4dbe-ace6-6feb7232d324" providerId="ADAL" clId="{F32DABA7-9499-45F5-BFAC-3D24A0D195FD}" dt="2023-06-15T07:12:30.818" v="493" actId="20577"/>
          <ac:spMkLst>
            <pc:docMk/>
            <pc:sldMk cId="1929311418" sldId="353"/>
            <ac:spMk id="2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5T07:13:01.637" v="544" actId="20577"/>
          <ac:spMkLst>
            <pc:docMk/>
            <pc:sldMk cId="1929311418" sldId="353"/>
            <ac:spMk id="6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5T07:12:13.017" v="489" actId="20577"/>
          <ac:spMkLst>
            <pc:docMk/>
            <pc:sldMk cId="1929311418" sldId="353"/>
            <ac:spMk id="11" creationId="{F4884EB7-DA4F-4889-B263-98D9FC8068E0}"/>
          </ac:spMkLst>
        </pc:spChg>
        <pc:picChg chg="add del mod">
          <ac:chgData name="Joachim Fernandes" userId="250c3822-0159-4dbe-ace6-6feb7232d324" providerId="ADAL" clId="{F32DABA7-9499-45F5-BFAC-3D24A0D195FD}" dt="2023-06-15T07:16:28.724" v="552" actId="478"/>
          <ac:picMkLst>
            <pc:docMk/>
            <pc:sldMk cId="1929311418" sldId="353"/>
            <ac:picMk id="3" creationId="{E43BC160-AE9F-9BF1-F7E0-41279201234A}"/>
          </ac:picMkLst>
        </pc:picChg>
        <pc:picChg chg="add mod ord">
          <ac:chgData name="Joachim Fernandes" userId="250c3822-0159-4dbe-ace6-6feb7232d324" providerId="ADAL" clId="{F32DABA7-9499-45F5-BFAC-3D24A0D195FD}" dt="2023-06-15T07:34:01.120" v="615" actId="14861"/>
          <ac:picMkLst>
            <pc:docMk/>
            <pc:sldMk cId="1929311418" sldId="353"/>
            <ac:picMk id="4" creationId="{AE1CD6CE-7B2C-9015-BCFF-9C7EC94896F0}"/>
          </ac:picMkLst>
        </pc:picChg>
        <pc:picChg chg="add mod ord">
          <ac:chgData name="Joachim Fernandes" userId="250c3822-0159-4dbe-ace6-6feb7232d324" providerId="ADAL" clId="{F32DABA7-9499-45F5-BFAC-3D24A0D195FD}" dt="2023-06-15T07:34:01.120" v="615" actId="14861"/>
          <ac:picMkLst>
            <pc:docMk/>
            <pc:sldMk cId="1929311418" sldId="353"/>
            <ac:picMk id="5" creationId="{3EEF4585-BFD3-02D3-E80D-CBFC281305D6}"/>
          </ac:picMkLst>
        </pc:picChg>
        <pc:picChg chg="del mod">
          <ac:chgData name="Joachim Fernandes" userId="250c3822-0159-4dbe-ace6-6feb7232d324" providerId="ADAL" clId="{F32DABA7-9499-45F5-BFAC-3D24A0D195FD}" dt="2023-06-15T07:22:09.822" v="561" actId="478"/>
          <ac:picMkLst>
            <pc:docMk/>
            <pc:sldMk cId="1929311418" sldId="353"/>
            <ac:picMk id="8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5T07:11:53.827" v="485" actId="478"/>
          <ac:picMkLst>
            <pc:docMk/>
            <pc:sldMk cId="1929311418" sldId="353"/>
            <ac:picMk id="19" creationId="{00000000-0000-0000-0000-000000000000}"/>
          </ac:picMkLst>
        </pc:picChg>
      </pc:sldChg>
      <pc:sldChg chg="addSp delSp modSp mod">
        <pc:chgData name="Joachim Fernandes" userId="250c3822-0159-4dbe-ace6-6feb7232d324" providerId="ADAL" clId="{F32DABA7-9499-45F5-BFAC-3D24A0D195FD}" dt="2023-06-14T16:34:09.665" v="478" actId="20577"/>
        <pc:sldMkLst>
          <pc:docMk/>
          <pc:sldMk cId="701885731" sldId="358"/>
        </pc:sldMkLst>
        <pc:spChg chg="mod">
          <ac:chgData name="Joachim Fernandes" userId="250c3822-0159-4dbe-ace6-6feb7232d324" providerId="ADAL" clId="{F32DABA7-9499-45F5-BFAC-3D24A0D195FD}" dt="2023-06-14T16:34:09.665" v="478" actId="20577"/>
          <ac:spMkLst>
            <pc:docMk/>
            <pc:sldMk cId="701885731" sldId="358"/>
            <ac:spMk id="2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6" creationId="{A860F595-7BA9-8F1D-ADA6-4FA7ECEEB899}"/>
          </ac:spMkLst>
        </pc:spChg>
        <pc:spChg chg="mod">
          <ac:chgData name="Joachim Fernandes" userId="250c3822-0159-4dbe-ace6-6feb7232d324" providerId="ADAL" clId="{F32DABA7-9499-45F5-BFAC-3D24A0D195FD}" dt="2023-06-14T15:05:07.422" v="364"/>
          <ac:spMkLst>
            <pc:docMk/>
            <pc:sldMk cId="701885731" sldId="358"/>
            <ac:spMk id="7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8" creationId="{B7E663B0-E24D-B3B4-0E21-BCEA4A084BA3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9" creationId="{2FC0BC68-AEC0-FE78-EA1D-18605B2A45C2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13" creationId="{B7E8C564-7921-3604-58A1-7BD6B0B9D2F8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14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15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16" creationId="{ACFCD7BD-8166-001B-32DE-4FD12C6FD38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17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18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21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23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27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4:54.293" v="362" actId="478"/>
          <ac:spMkLst>
            <pc:docMk/>
            <pc:sldMk cId="701885731" sldId="358"/>
            <ac:spMk id="29" creationId="{00000000-0000-0000-0000-000000000000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34" creationId="{7F18A982-9B73-8A71-7744-2631D0345920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35" creationId="{1ADADF2A-BAF7-B2AA-0EEF-9709FA248A5D}"/>
          </ac:spMkLst>
        </pc:spChg>
        <pc:spChg chg="add mod">
          <ac:chgData name="Joachim Fernandes" userId="250c3822-0159-4dbe-ace6-6feb7232d324" providerId="ADAL" clId="{F32DABA7-9499-45F5-BFAC-3D24A0D195FD}" dt="2023-06-14T15:04:55.556" v="363"/>
          <ac:spMkLst>
            <pc:docMk/>
            <pc:sldMk cId="701885731" sldId="358"/>
            <ac:spMk id="36" creationId="{0D7AAA30-1ADC-2211-60D2-5FB10F5E572C}"/>
          </ac:spMkLst>
        </pc:sp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3" creationId="{1A691184-8D20-0FC0-0ADD-803E1C914E07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4" creationId="{6507E6E4-C294-E008-7D52-D0B39595C485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5" creationId="{444C68D3-B0BC-7518-E874-B742775FD361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10" creationId="{04B6E55C-4F87-43B7-8142-534876738EA5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11" creationId="{0051589E-C5B1-453B-A13C-8A6F2F10E1B3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12" creationId="{49807106-3ED3-4A0D-A33D-B127484AAE4C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19" creationId="{00000000-0000-0000-0000-000000000000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20" creationId="{88F301D7-E705-83C7-4B21-7F9D1A8F55B5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22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24" creationId="{00000000-0000-0000-0000-000000000000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25" creationId="{B8B7E4F0-A07C-80D7-3DF2-743550F44F40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26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28" creationId="{00000000-0000-0000-0000-000000000000}"/>
          </ac:picMkLst>
        </pc:picChg>
        <pc:picChg chg="del">
          <ac:chgData name="Joachim Fernandes" userId="250c3822-0159-4dbe-ace6-6feb7232d324" providerId="ADAL" clId="{F32DABA7-9499-45F5-BFAC-3D24A0D195FD}" dt="2023-06-14T15:04:54.293" v="362" actId="478"/>
          <ac:picMkLst>
            <pc:docMk/>
            <pc:sldMk cId="701885731" sldId="358"/>
            <ac:picMk id="30" creationId="{00000000-0000-0000-0000-000000000000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31" creationId="{B1703C98-0E24-4043-F1AF-BE21A1B89B33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32" creationId="{6444A267-2467-E988-2766-E2E0827A3E8B}"/>
          </ac:picMkLst>
        </pc:picChg>
        <pc:picChg chg="add mod">
          <ac:chgData name="Joachim Fernandes" userId="250c3822-0159-4dbe-ace6-6feb7232d324" providerId="ADAL" clId="{F32DABA7-9499-45F5-BFAC-3D24A0D195FD}" dt="2023-06-14T15:04:55.556" v="363"/>
          <ac:picMkLst>
            <pc:docMk/>
            <pc:sldMk cId="701885731" sldId="358"/>
            <ac:picMk id="33" creationId="{55FA8D07-B109-ABFA-1063-865346799453}"/>
          </ac:picMkLst>
        </pc:picChg>
      </pc:sldChg>
      <pc:sldChg chg="addSp delSp modSp mod">
        <pc:chgData name="Joachim Fernandes" userId="250c3822-0159-4dbe-ace6-6feb7232d324" providerId="ADAL" clId="{F32DABA7-9499-45F5-BFAC-3D24A0D195FD}" dt="2023-06-14T15:02:25.434" v="360" actId="20577"/>
        <pc:sldMkLst>
          <pc:docMk/>
          <pc:sldMk cId="1704418671" sldId="359"/>
        </pc:sldMkLst>
        <pc:spChg chg="mod">
          <ac:chgData name="Joachim Fernandes" userId="250c3822-0159-4dbe-ace6-6feb7232d324" providerId="ADAL" clId="{F32DABA7-9499-45F5-BFAC-3D24A0D195FD}" dt="2023-06-14T15:02:25.434" v="360" actId="20577"/>
          <ac:spMkLst>
            <pc:docMk/>
            <pc:sldMk cId="1704418671" sldId="359"/>
            <ac:spMk id="2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4T15:02:20.133" v="358" actId="20577"/>
          <ac:spMkLst>
            <pc:docMk/>
            <pc:sldMk cId="1704418671" sldId="359"/>
            <ac:spMk id="4" creationId="{00000000-0000-0000-0000-000000000000}"/>
          </ac:spMkLst>
        </pc:spChg>
        <pc:spChg chg="del">
          <ac:chgData name="Joachim Fernandes" userId="250c3822-0159-4dbe-ace6-6feb7232d324" providerId="ADAL" clId="{F32DABA7-9499-45F5-BFAC-3D24A0D195FD}" dt="2023-06-14T15:00:40.895" v="129" actId="478"/>
          <ac:spMkLst>
            <pc:docMk/>
            <pc:sldMk cId="1704418671" sldId="359"/>
            <ac:spMk id="9" creationId="{B6C9D7EB-0FBF-4B53-AB24-128EAFA9450F}"/>
          </ac:spMkLst>
        </pc:spChg>
        <pc:picChg chg="add mod">
          <ac:chgData name="Joachim Fernandes" userId="250c3822-0159-4dbe-ace6-6feb7232d324" providerId="ADAL" clId="{F32DABA7-9499-45F5-BFAC-3D24A0D195FD}" dt="2023-06-14T15:01:09.676" v="174" actId="14100"/>
          <ac:picMkLst>
            <pc:docMk/>
            <pc:sldMk cId="1704418671" sldId="359"/>
            <ac:picMk id="3" creationId="{08BAD85A-13C9-1233-7CE6-A4D97A3BE16B}"/>
          </ac:picMkLst>
        </pc:picChg>
        <pc:picChg chg="add mod">
          <ac:chgData name="Joachim Fernandes" userId="250c3822-0159-4dbe-ace6-6feb7232d324" providerId="ADAL" clId="{F32DABA7-9499-45F5-BFAC-3D24A0D195FD}" dt="2023-06-14T15:01:17.618" v="175" actId="1076"/>
          <ac:picMkLst>
            <pc:docMk/>
            <pc:sldMk cId="1704418671" sldId="359"/>
            <ac:picMk id="5" creationId="{E28EC955-5AD5-DFA2-2155-201F9395A77E}"/>
          </ac:picMkLst>
        </pc:picChg>
        <pc:picChg chg="del">
          <ac:chgData name="Joachim Fernandes" userId="250c3822-0159-4dbe-ace6-6feb7232d324" providerId="ADAL" clId="{F32DABA7-9499-45F5-BFAC-3D24A0D195FD}" dt="2023-06-14T15:00:36.728" v="128" actId="478"/>
          <ac:picMkLst>
            <pc:docMk/>
            <pc:sldMk cId="1704418671" sldId="359"/>
            <ac:picMk id="8" creationId="{744A42D5-37DE-4B72-A1BD-A49C3BB22021}"/>
          </ac:picMkLst>
        </pc:picChg>
      </pc:sldChg>
      <pc:sldChg chg="addSp delSp modSp mod">
        <pc:chgData name="Joachim Fernandes" userId="250c3822-0159-4dbe-ace6-6feb7232d324" providerId="ADAL" clId="{F32DABA7-9499-45F5-BFAC-3D24A0D195FD}" dt="2023-06-14T14:52:23.919" v="127" actId="20577"/>
        <pc:sldMkLst>
          <pc:docMk/>
          <pc:sldMk cId="880236164" sldId="360"/>
        </pc:sldMkLst>
        <pc:spChg chg="mod">
          <ac:chgData name="Joachim Fernandes" userId="250c3822-0159-4dbe-ace6-6feb7232d324" providerId="ADAL" clId="{F32DABA7-9499-45F5-BFAC-3D24A0D195FD}" dt="2023-06-14T14:51:57.926" v="78" actId="20577"/>
          <ac:spMkLst>
            <pc:docMk/>
            <pc:sldMk cId="880236164" sldId="360"/>
            <ac:spMk id="2" creationId="{00000000-0000-0000-0000-000000000000}"/>
          </ac:spMkLst>
        </pc:spChg>
        <pc:spChg chg="mod">
          <ac:chgData name="Joachim Fernandes" userId="250c3822-0159-4dbe-ace6-6feb7232d324" providerId="ADAL" clId="{F32DABA7-9499-45F5-BFAC-3D24A0D195FD}" dt="2023-06-14T14:52:23.919" v="127" actId="20577"/>
          <ac:spMkLst>
            <pc:docMk/>
            <pc:sldMk cId="880236164" sldId="360"/>
            <ac:spMk id="8" creationId="{00000000-0000-0000-0000-000000000000}"/>
          </ac:spMkLst>
        </pc:spChg>
        <pc:graphicFrameChg chg="add mod modGraphic">
          <ac:chgData name="Joachim Fernandes" userId="250c3822-0159-4dbe-ace6-6feb7232d324" providerId="ADAL" clId="{F32DABA7-9499-45F5-BFAC-3D24A0D195FD}" dt="2023-06-14T14:51:45.878" v="73" actId="1076"/>
          <ac:graphicFrameMkLst>
            <pc:docMk/>
            <pc:sldMk cId="880236164" sldId="360"/>
            <ac:graphicFrameMk id="3" creationId="{55D8D31D-0CC5-8FF3-496C-EC88542EF86A}"/>
          </ac:graphicFrameMkLst>
        </pc:graphicFrameChg>
        <pc:graphicFrameChg chg="del">
          <ac:chgData name="Joachim Fernandes" userId="250c3822-0159-4dbe-ace6-6feb7232d324" providerId="ADAL" clId="{F32DABA7-9499-45F5-BFAC-3D24A0D195FD}" dt="2023-06-14T14:51:05.225" v="68" actId="478"/>
          <ac:graphicFrameMkLst>
            <pc:docMk/>
            <pc:sldMk cId="880236164" sldId="360"/>
            <ac:graphicFrameMk id="6" creationId="{00000000-0000-0000-0000-000000000000}"/>
          </ac:graphicFrameMkLst>
        </pc:graphicFrameChg>
      </pc:sldChg>
      <pc:sldChg chg="del">
        <pc:chgData name="Joachim Fernandes" userId="250c3822-0159-4dbe-ace6-6feb7232d324" providerId="ADAL" clId="{F32DABA7-9499-45F5-BFAC-3D24A0D195FD}" dt="2023-06-14T15:04:11.850" v="361" actId="47"/>
        <pc:sldMkLst>
          <pc:docMk/>
          <pc:sldMk cId="120657090" sldId="362"/>
        </pc:sldMkLst>
      </pc:sldChg>
      <pc:sldChg chg="del">
        <pc:chgData name="Joachim Fernandes" userId="250c3822-0159-4dbe-ace6-6feb7232d324" providerId="ADAL" clId="{F32DABA7-9499-45F5-BFAC-3D24A0D195FD}" dt="2023-06-14T15:33:26.977" v="461" actId="47"/>
        <pc:sldMkLst>
          <pc:docMk/>
          <pc:sldMk cId="561293575" sldId="365"/>
        </pc:sldMkLst>
      </pc:sldChg>
      <pc:sldChg chg="modSp add mod">
        <pc:chgData name="Joachim Fernandes" userId="250c3822-0159-4dbe-ace6-6feb7232d324" providerId="ADAL" clId="{F32DABA7-9499-45F5-BFAC-3D24A0D195FD}" dt="2023-06-15T07:35:57.956" v="696" actId="20577"/>
        <pc:sldMkLst>
          <pc:docMk/>
          <pc:sldMk cId="935071726" sldId="365"/>
        </pc:sldMkLst>
        <pc:spChg chg="mod">
          <ac:chgData name="Joachim Fernandes" userId="250c3822-0159-4dbe-ace6-6feb7232d324" providerId="ADAL" clId="{F32DABA7-9499-45F5-BFAC-3D24A0D195FD}" dt="2023-06-15T07:35:57.956" v="696" actId="20577"/>
          <ac:spMkLst>
            <pc:docMk/>
            <pc:sldMk cId="935071726" sldId="365"/>
            <ac:spMk id="2" creationId="{5420EE4B-BB71-4176-AEAC-33308214076C}"/>
          </ac:spMkLst>
        </pc:spChg>
        <pc:spChg chg="mod">
          <ac:chgData name="Joachim Fernandes" userId="250c3822-0159-4dbe-ace6-6feb7232d324" providerId="ADAL" clId="{F32DABA7-9499-45F5-BFAC-3D24A0D195FD}" dt="2023-06-15T07:34:56.599" v="637" actId="20577"/>
          <ac:spMkLst>
            <pc:docMk/>
            <pc:sldMk cId="935071726" sldId="365"/>
            <ac:spMk id="12" creationId="{9F7D5C10-C1DF-4EE9-B061-DF9FD5FDC091}"/>
          </ac:spMkLst>
        </pc:spChg>
        <pc:graphicFrameChg chg="modGraphic">
          <ac:chgData name="Joachim Fernandes" userId="250c3822-0159-4dbe-ace6-6feb7232d324" providerId="ADAL" clId="{F32DABA7-9499-45F5-BFAC-3D24A0D195FD}" dt="2023-06-14T16:32:38.820" v="476" actId="20577"/>
          <ac:graphicFrameMkLst>
            <pc:docMk/>
            <pc:sldMk cId="935071726" sldId="365"/>
            <ac:graphicFrameMk id="9" creationId="{D150E673-1918-439A-8892-F0ED0B3D5C8A}"/>
          </ac:graphicFrameMkLst>
        </pc:graphicFrameChg>
      </pc:sldChg>
      <pc:sldChg chg="del">
        <pc:chgData name="Joachim Fernandes" userId="250c3822-0159-4dbe-ace6-6feb7232d324" providerId="ADAL" clId="{F32DABA7-9499-45F5-BFAC-3D24A0D195FD}" dt="2023-06-14T15:33:26.977" v="461" actId="47"/>
        <pc:sldMkLst>
          <pc:docMk/>
          <pc:sldMk cId="1912937401" sldId="366"/>
        </pc:sldMkLst>
      </pc:sldChg>
      <pc:sldChg chg="del">
        <pc:chgData name="Joachim Fernandes" userId="250c3822-0159-4dbe-ace6-6feb7232d324" providerId="ADAL" clId="{F32DABA7-9499-45F5-BFAC-3D24A0D195FD}" dt="2023-06-14T15:33:26.977" v="461" actId="47"/>
        <pc:sldMkLst>
          <pc:docMk/>
          <pc:sldMk cId="761219370" sldId="367"/>
        </pc:sldMkLst>
      </pc:sldChg>
      <pc:sldChg chg="del">
        <pc:chgData name="Joachim Fernandes" userId="250c3822-0159-4dbe-ace6-6feb7232d324" providerId="ADAL" clId="{F32DABA7-9499-45F5-BFAC-3D24A0D195FD}" dt="2023-06-14T15:33:26.977" v="461" actId="47"/>
        <pc:sldMkLst>
          <pc:docMk/>
          <pc:sldMk cId="1253866411" sldId="368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73D97BC9-B037-4EB9-871D-886E95A62358}" type="datetimeFigureOut">
              <a:rPr lang="en-US" smtClean="0"/>
              <a:t>6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2719365B-B499-4771-9130-FF4D4813B6B5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3394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jp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00" y="404664"/>
            <a:ext cx="2091600" cy="889212"/>
          </a:xfrm>
          <a:prstGeom prst="rect">
            <a:avLst/>
          </a:prstGeom>
        </p:spPr>
      </p:pic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2292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7">
            <a:extLst>
              <a:ext uri="{FF2B5EF4-FFF2-40B4-BE49-F238E27FC236}">
                <a16:creationId xmlns:a16="http://schemas.microsoft.com/office/drawing/2014/main" id="{74347F47-1B65-41FC-8AFB-8C7D019E4B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9776" y="5547931"/>
            <a:ext cx="9412448" cy="4431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200" dirty="0">
                <a:solidFill>
                  <a:srgbClr val="FF0000"/>
                </a:solidFill>
                <a:ea typeface="Arial" charset="0"/>
              </a:defRPr>
            </a:lvl1pPr>
          </a:lstStyle>
          <a:p>
            <a:pPr marL="11113" lvl="0" indent="0" defTabSz="1219140">
              <a:tabLst/>
            </a:pPr>
            <a:r>
              <a:rPr lang="en-GB" noProof="0" dirty="0"/>
              <a:t>Click to add title</a:t>
            </a:r>
          </a:p>
        </p:txBody>
      </p:sp>
      <p:sp>
        <p:nvSpPr>
          <p:cNvPr id="8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576000" y="6079033"/>
            <a:ext cx="5040000" cy="215444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>
            <a:lvl1pPr marL="0" indent="0" algn="ctr" defTabSz="60957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SzPct val="125000"/>
              <a:buFont typeface="Wingdings" panose="05000000000000000000" pitchFamily="2" charset="2"/>
              <a:buNone/>
              <a:defRPr lang="en-US" sz="1400" baseline="0" dirty="0">
                <a:solidFill>
                  <a:schemeClr val="tx1"/>
                </a:solidFill>
              </a:defRPr>
            </a:lvl1pPr>
          </a:lstStyle>
          <a:p>
            <a:pPr marL="0" lvl="0" indent="0" algn="ctr" defTabSz="609570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SzPct val="125000"/>
              <a:buFont typeface="Wingdings" panose="05000000000000000000" pitchFamily="2" charset="2"/>
              <a:buNone/>
            </a:pPr>
            <a:r>
              <a:rPr lang="en-GB" noProof="0" dirty="0"/>
              <a:t>Click to add sub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76000" y="6382381"/>
            <a:ext cx="5040000" cy="215444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en-GB" noProof="0" dirty="0"/>
              <a:t>Place – Dat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4000"/>
            <a:ext cx="1219200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89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843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70" imgH="270" progId="TCLayout.ActiveDocument.1">
                  <p:embed/>
                </p:oleObj>
              </mc:Choice>
              <mc:Fallback>
                <p:oleObj name="Diapositive think-cell" r:id="rId3" imgW="270" imgH="27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37691" y="603759"/>
            <a:ext cx="6916618" cy="332399"/>
          </a:xfrm>
        </p:spPr>
        <p:txBody>
          <a:bodyPr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637691" y="1660525"/>
            <a:ext cx="9218309" cy="124803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solidFill>
                  <a:schemeClr val="tx2"/>
                </a:solidFill>
                <a:latin typeface="Calibri" charset="0"/>
                <a:ea typeface="Calibri" charset="0"/>
                <a:cs typeface="Calibri" charset="0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</p:txBody>
      </p:sp>
      <p:pic>
        <p:nvPicPr>
          <p:cNvPr id="7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399" y="325353"/>
            <a:ext cx="2091600" cy="88921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874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135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16" imgH="216" progId="TCLayout.ActiveDocument.1">
                  <p:embed/>
                </p:oleObj>
              </mc:Choice>
              <mc:Fallback>
                <p:oleObj name="Diapositive think-cell" r:id="rId3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1" y="2568955"/>
            <a:ext cx="12191999" cy="172009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eaLnBrk="1"/>
            <a:endParaRPr lang="en-US" sz="32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" y="3262801"/>
            <a:ext cx="12191999" cy="332399"/>
          </a:xfrm>
        </p:spPr>
        <p:txBody>
          <a:bodyPr/>
          <a:lstStyle>
            <a:lvl1pPr algn="ctr">
              <a:defRPr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add divider</a:t>
            </a:r>
          </a:p>
        </p:txBody>
      </p:sp>
    </p:spTree>
    <p:extLst>
      <p:ext uri="{BB962C8B-B14F-4D97-AF65-F5344CB8AC3E}">
        <p14:creationId xmlns:p14="http://schemas.microsoft.com/office/powerpoint/2010/main" val="8622696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1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16" imgH="216" progId="TCLayout.ActiveDocument.1">
                  <p:embed/>
                </p:oleObj>
              </mc:Choice>
              <mc:Fallback>
                <p:oleObj name="Diapositive think-cell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998" y="325353"/>
            <a:ext cx="9249961" cy="332399"/>
          </a:xfrm>
        </p:spPr>
        <p:txBody>
          <a:bodyPr anchor="t"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8" y="1620000"/>
            <a:ext cx="11520001" cy="1248034"/>
          </a:xfrm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dirty="0">
              <a:solidFill>
                <a:schemeClr val="tx2"/>
              </a:solidFill>
            </a:endParaRPr>
          </a:p>
        </p:txBody>
      </p:sp>
      <p:cxnSp>
        <p:nvCxnSpPr>
          <p:cNvPr id="12" name="Gerade Verbindung 3"/>
          <p:cNvCxnSpPr/>
          <p:nvPr userDrawn="1"/>
        </p:nvCxnSpPr>
        <p:spPr bwMode="auto">
          <a:xfrm>
            <a:off x="336000" y="141904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3"/>
          <p:cNvCxnSpPr/>
          <p:nvPr userDrawn="1"/>
        </p:nvCxnSpPr>
        <p:spPr bwMode="auto">
          <a:xfrm>
            <a:off x="336000" y="638132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399" y="325353"/>
            <a:ext cx="2091600" cy="889212"/>
          </a:xfrm>
          <a:prstGeom prst="rect">
            <a:avLst/>
          </a:prstGeom>
        </p:spPr>
      </p:pic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0D6A3275-DD1B-438E-A988-02BD90406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998" y="999121"/>
            <a:ext cx="9249961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GB" sz="1400" b="0" i="0" u="none" kern="1000" spc="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1" name="Espace réservé du contenu 7"/>
          <p:cNvSpPr>
            <a:spLocks noGrp="1"/>
          </p:cNvSpPr>
          <p:nvPr>
            <p:ph idx="16" hasCustomPrompt="1"/>
          </p:nvPr>
        </p:nvSpPr>
        <p:spPr>
          <a:xfrm>
            <a:off x="335998" y="6541239"/>
            <a:ext cx="9249962" cy="153888"/>
          </a:xfrm>
        </p:spPr>
        <p:txBody>
          <a:bodyPr anchor="ctr"/>
          <a:lstStyle>
            <a:lvl1pPr marL="0" indent="0">
              <a:buFontTx/>
              <a:buNone/>
              <a:defRPr kumimoji="0" lang="fr-FR" sz="1000" b="0" i="0" u="none" strike="noStrike" kern="100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B5B5B"/>
              </a:buClr>
              <a:buSzPct val="125000"/>
              <a:buFont typeface="Wingdings" panose="05000000000000000000" pitchFamily="2" charset="2"/>
              <a:buNone/>
              <a:tabLst/>
            </a:pPr>
            <a:r>
              <a:rPr lang="en-GB" noProof="0" dirty="0"/>
              <a:t>Click to add sources or referenc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2 w/o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16" imgH="216" progId="TCLayout.ActiveDocument.1">
                  <p:embed/>
                </p:oleObj>
              </mc:Choice>
              <mc:Fallback>
                <p:oleObj name="Diapositive think-cell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998" y="325353"/>
            <a:ext cx="9249961" cy="332399"/>
          </a:xfrm>
        </p:spPr>
        <p:txBody>
          <a:bodyPr anchor="t"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8" y="1620000"/>
            <a:ext cx="11520001" cy="1248034"/>
          </a:xfrm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dirty="0">
              <a:solidFill>
                <a:schemeClr val="tx2"/>
              </a:solidFill>
            </a:endParaRPr>
          </a:p>
        </p:txBody>
      </p:sp>
      <p:cxnSp>
        <p:nvCxnSpPr>
          <p:cNvPr id="12" name="Gerade Verbindung 3"/>
          <p:cNvCxnSpPr/>
          <p:nvPr userDrawn="1"/>
        </p:nvCxnSpPr>
        <p:spPr bwMode="auto">
          <a:xfrm>
            <a:off x="336000" y="141904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3"/>
          <p:cNvCxnSpPr/>
          <p:nvPr userDrawn="1"/>
        </p:nvCxnSpPr>
        <p:spPr bwMode="auto">
          <a:xfrm>
            <a:off x="336000" y="638132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399" y="325353"/>
            <a:ext cx="2091600" cy="889212"/>
          </a:xfrm>
          <a:prstGeom prst="rect">
            <a:avLst/>
          </a:prstGeom>
        </p:spPr>
      </p:pic>
      <p:sp>
        <p:nvSpPr>
          <p:cNvPr id="10" name="Espace réservé du texte 3">
            <a:extLst>
              <a:ext uri="{FF2B5EF4-FFF2-40B4-BE49-F238E27FC236}">
                <a16:creationId xmlns:a16="http://schemas.microsoft.com/office/drawing/2014/main" id="{0D6A3275-DD1B-438E-A988-02BD90406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5998" y="999121"/>
            <a:ext cx="9249961" cy="215444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marL="0" indent="0">
              <a:buNone/>
              <a:defRPr lang="en-GB" sz="1400" b="0" i="0" u="none" kern="1000" spc="0" baseline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3 w/o Subtitle nor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185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216" imgH="216" progId="TCLayout.ActiveDocument.1">
                  <p:embed/>
                </p:oleObj>
              </mc:Choice>
              <mc:Fallback>
                <p:oleObj name="Diapositive think-cell" r:id="rId3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998" y="334684"/>
            <a:ext cx="9249961" cy="889212"/>
          </a:xfrm>
        </p:spPr>
        <p:txBody>
          <a:bodyPr anchor="t"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5998" y="1620000"/>
            <a:ext cx="11520001" cy="1248034"/>
          </a:xfrm>
        </p:spPr>
        <p:txBody>
          <a:bodyPr/>
          <a:lstStyle>
            <a:lvl1pPr>
              <a:defRPr>
                <a:latin typeface="Calibri" charset="0"/>
                <a:ea typeface="Calibri" charset="0"/>
                <a:cs typeface="Calibri" charset="0"/>
              </a:defRPr>
            </a:lvl1pPr>
            <a:lvl2pPr>
              <a:defRPr>
                <a:latin typeface="Calibri" charset="0"/>
                <a:ea typeface="Calibri" charset="0"/>
                <a:cs typeface="Calibri" charset="0"/>
              </a:defRPr>
            </a:lvl2pPr>
            <a:lvl3pPr>
              <a:defRPr>
                <a:latin typeface="Calibri" charset="0"/>
                <a:ea typeface="Calibri" charset="0"/>
                <a:cs typeface="Calibri" charset="0"/>
              </a:defRPr>
            </a:lvl3pPr>
            <a:lvl4pPr>
              <a:defRPr>
                <a:latin typeface="Calibri" charset="0"/>
                <a:ea typeface="Calibri" charset="0"/>
                <a:cs typeface="Calibri" charset="0"/>
              </a:defRPr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add text</a:t>
            </a:r>
          </a:p>
          <a:p>
            <a:pPr lvl="2"/>
            <a:r>
              <a:rPr lang="en-US" dirty="0"/>
              <a:t>Click to add text</a:t>
            </a:r>
          </a:p>
          <a:p>
            <a:pPr lvl="3"/>
            <a:r>
              <a:rPr lang="en-US" dirty="0"/>
              <a:t>Click to add text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dirty="0">
              <a:solidFill>
                <a:schemeClr val="tx2"/>
              </a:solidFill>
            </a:endParaRPr>
          </a:p>
        </p:txBody>
      </p:sp>
      <p:cxnSp>
        <p:nvCxnSpPr>
          <p:cNvPr id="12" name="Gerade Verbindung 3"/>
          <p:cNvCxnSpPr/>
          <p:nvPr userDrawn="1"/>
        </p:nvCxnSpPr>
        <p:spPr bwMode="auto">
          <a:xfrm>
            <a:off x="336000" y="141904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3"/>
          <p:cNvCxnSpPr/>
          <p:nvPr userDrawn="1"/>
        </p:nvCxnSpPr>
        <p:spPr bwMode="auto">
          <a:xfrm>
            <a:off x="336000" y="6381328"/>
            <a:ext cx="11520000" cy="0"/>
          </a:xfrm>
          <a:prstGeom prst="line">
            <a:avLst/>
          </a:prstGeom>
          <a:solidFill>
            <a:schemeClr val="tx2"/>
          </a:solidFill>
          <a:ln w="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4399" y="325353"/>
            <a:ext cx="2091600" cy="88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691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dirty="0">
              <a:solidFill>
                <a:schemeClr val="tx2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5998" y="325353"/>
            <a:ext cx="9249961" cy="332399"/>
          </a:xfrm>
        </p:spPr>
        <p:txBody>
          <a:bodyPr anchor="t"/>
          <a:lstStyle>
            <a:lvl1pPr algn="l">
              <a:defRPr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8093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verband_01.jp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6"/>
          <a:stretch/>
        </p:blipFill>
        <p:spPr>
          <a:xfrm>
            <a:off x="0" y="0"/>
            <a:ext cx="12193200" cy="6858355"/>
          </a:xfrm>
          <a:prstGeom prst="rect">
            <a:avLst/>
          </a:prstGeom>
        </p:spPr>
      </p:pic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641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ZoneTexte 13"/>
          <p:cNvSpPr txBox="1"/>
          <p:nvPr userDrawn="1"/>
        </p:nvSpPr>
        <p:spPr>
          <a:xfrm>
            <a:off x="4523797" y="1916209"/>
            <a:ext cx="75289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4800" b="1" noProof="0" dirty="0">
                <a:solidFill>
                  <a:srgbClr val="FF0000"/>
                </a:solidFill>
                <a:latin typeface="Calibri" charset="0"/>
                <a:ea typeface="Calibri" charset="0"/>
                <a:cs typeface="Calibri" charset="0"/>
              </a:rPr>
              <a:t>Thanks for your attention</a:t>
            </a:r>
          </a:p>
        </p:txBody>
      </p:sp>
      <p:pic>
        <p:nvPicPr>
          <p:cNvPr id="16" name="Bild 2" descr="SAQ_Logo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4127" y="217675"/>
            <a:ext cx="3197967" cy="136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922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1F0FE-15AB-40C1-B377-BB3E47E9D0B6}" type="datetime1">
              <a:rPr lang="fr-CH" smtClean="0"/>
              <a:t>15.06.2023</a:t>
            </a:fld>
            <a:endParaRPr lang="fr-CH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6FAA0E-1349-4C2E-95E3-CBEE3C1D9BF5}" type="slidenum">
              <a:rPr lang="fr-CH" smtClean="0"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457983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483640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2" imgW="216" imgH="216" progId="TCLayout.ActiveDocument.1">
                  <p:embed/>
                </p:oleObj>
              </mc:Choice>
              <mc:Fallback>
                <p:oleObj name="Diapositive think-cell" r:id="rId12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5998" y="325354"/>
            <a:ext cx="11520000" cy="3323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11113" lvl="0" indent="0" algn="ctr" defTabSz="1219140">
              <a:tabLst/>
            </a:pPr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5997" y="1566545"/>
            <a:ext cx="11520001" cy="12480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39989" marR="0" lvl="0" indent="-239989" algn="l" defTabSz="6095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5B5B5B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lang="en-GB" noProof="0" dirty="0"/>
              <a:t>Click to edit Master text styles</a:t>
            </a:r>
          </a:p>
          <a:p>
            <a:pPr marL="479976" marR="0" lvl="1" indent="-239989" algn="l" defTabSz="60957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5B5B5B"/>
              </a:buClr>
              <a:buSzPct val="120000"/>
              <a:buFont typeface="Arial" panose="020B0604020202020204" pitchFamily="34" charset="0"/>
              <a:buChar char="–"/>
              <a:tabLst/>
              <a:defRPr/>
            </a:pPr>
            <a:r>
              <a:rPr lang="en-GB" noProof="0" dirty="0"/>
              <a:t>Second level</a:t>
            </a:r>
          </a:p>
          <a:p>
            <a:pPr marL="719965" marR="0" lvl="2" indent="-239989" algn="l" defTabSz="60957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5B5B5B"/>
              </a:buClr>
              <a:buSzPct val="120000"/>
              <a:buFont typeface="Arial" panose="020B0604020202020204" pitchFamily="34" charset="0"/>
              <a:buChar char="▫"/>
              <a:tabLst/>
              <a:defRPr/>
            </a:pPr>
            <a:r>
              <a:rPr lang="en-GB" noProof="0" dirty="0"/>
              <a:t>Third level</a:t>
            </a:r>
          </a:p>
          <a:p>
            <a:pPr marL="959952" marR="0" lvl="3" indent="-239989" algn="l" defTabSz="60957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5B5B5B"/>
              </a:buClr>
              <a:buSzPct val="89000"/>
              <a:buFont typeface="Corbel" panose="020B0503020204020204" pitchFamily="34" charset="0"/>
              <a:buChar char="–"/>
              <a:tabLst/>
              <a:defRPr/>
            </a:pPr>
            <a:r>
              <a:rPr lang="en-GB" noProof="0" dirty="0"/>
              <a:t>Fourth level</a:t>
            </a:r>
          </a:p>
        </p:txBody>
      </p:sp>
      <p:sp>
        <p:nvSpPr>
          <p:cNvPr id="10" name="TextBox 7"/>
          <p:cNvSpPr txBox="1"/>
          <p:nvPr userDrawn="1"/>
        </p:nvSpPr>
        <p:spPr>
          <a:xfrm>
            <a:off x="11431561" y="6534346"/>
            <a:ext cx="424439" cy="16767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lvl="0" indent="0" defTabSz="609585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25000"/>
              <a:buFont typeface="Wingdings" panose="05000000000000000000" pitchFamily="2" charset="2"/>
              <a:buNone/>
              <a:defRPr sz="750" b="0" i="0" spc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359991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Arial" panose="020B0604020202020204" pitchFamily="34" charset="0"/>
              <a:buChar char="−"/>
              <a:defRPr sz="2400" b="0" i="0" spc="0"/>
            </a:lvl2pPr>
            <a:lvl3pPr marL="539987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35000"/>
              <a:buFont typeface="Wingdings" panose="05000000000000000000" pitchFamily="2" charset="2"/>
              <a:buChar char=""/>
              <a:defRPr sz="2400" b="0" i="0" spc="0"/>
            </a:lvl3pPr>
            <a:lvl4pPr marL="719982" indent="-179996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SzPct val="85000"/>
              <a:buFont typeface="Arial" panose="020B0604020202020204" pitchFamily="34" charset="0"/>
              <a:buChar char="–"/>
              <a:defRPr sz="2400" b="0" i="0" spc="0"/>
            </a:lvl4pPr>
            <a:lvl5pPr marL="683983" indent="0">
              <a:lnSpc>
                <a:spcPct val="120000"/>
              </a:lnSpc>
              <a:spcBef>
                <a:spcPct val="200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400" b="0" i="0"/>
            </a:lvl5pPr>
            <a:lvl6pPr marL="2514537" indent="-228594">
              <a:spcBef>
                <a:spcPct val="20000"/>
              </a:spcBef>
              <a:buFont typeface="Arial"/>
              <a:buChar char="•"/>
              <a:defRPr sz="2000"/>
            </a:lvl6pPr>
            <a:lvl7pPr marL="2971726" indent="-228594">
              <a:spcBef>
                <a:spcPct val="20000"/>
              </a:spcBef>
              <a:buFont typeface="Arial"/>
              <a:buChar char="•"/>
              <a:defRPr sz="2000"/>
            </a:lvl7pPr>
            <a:lvl8pPr marL="3428915" indent="-228594">
              <a:spcBef>
                <a:spcPct val="20000"/>
              </a:spcBef>
              <a:buFont typeface="Arial"/>
              <a:buChar char="•"/>
              <a:defRPr sz="2000"/>
            </a:lvl8pPr>
            <a:lvl9pPr marL="3886103" indent="-228594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 algn="r"/>
            <a:fld id="{62197229-DF79-E84E-A9DF-76B5D2C3DEDB}" type="slidenum">
              <a:rPr lang="en-GB" sz="1000" noProof="0" smtClean="0">
                <a:solidFill>
                  <a:schemeClr val="tx2"/>
                </a:solidFill>
              </a:rPr>
              <a:pPr lvl="0" algn="r"/>
              <a:t>‹N°›</a:t>
            </a:fld>
            <a:endParaRPr lang="en-GB" sz="1000" noProof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024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5" r:id="rId4"/>
    <p:sldLayoutId id="2147483656" r:id="rId5"/>
    <p:sldLayoutId id="2147483652" r:id="rId6"/>
    <p:sldLayoutId id="2147483653" r:id="rId7"/>
    <p:sldLayoutId id="2147483654" r:id="rId8"/>
    <p:sldLayoutId id="2147483657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cap="small" spc="800" baseline="0" dirty="0">
          <a:solidFill>
            <a:schemeClr val="tx2"/>
          </a:solidFill>
          <a:latin typeface="Arial" charset="0"/>
          <a:ea typeface="+mj-ea"/>
          <a:cs typeface="Arial" charset="0"/>
        </a:defRPr>
      </a:lvl1pPr>
    </p:titleStyle>
    <p:bodyStyle>
      <a:lvl1pPr marL="239989" marR="0" indent="-239989" algn="l" defTabSz="60957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rgbClr val="5B5B5B"/>
        </a:buClr>
        <a:buSzPct val="125000"/>
        <a:buFont typeface="Wingdings" panose="05000000000000000000" pitchFamily="2" charset="2"/>
        <a:buChar char="§"/>
        <a:tabLst/>
        <a:defRPr kumimoji="0" lang="en-US" sz="1600" b="0" i="0" u="none" strike="noStrike" kern="1200" cap="none" spc="0" normalizeH="0" baseline="0">
          <a:ln>
            <a:noFill/>
          </a:ln>
          <a:solidFill>
            <a:srgbClr val="000000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79976" marR="0" indent="-239989" algn="l" defTabSz="609570" rtl="0" eaLnBrk="1" fontAlgn="auto" latinLnBrk="0" hangingPunct="1">
        <a:lnSpc>
          <a:spcPct val="120000"/>
        </a:lnSpc>
        <a:spcBef>
          <a:spcPts val="300"/>
        </a:spcBef>
        <a:spcAft>
          <a:spcPts val="0"/>
        </a:spcAft>
        <a:buClr>
          <a:srgbClr val="5B5B5B"/>
        </a:buClr>
        <a:buSzPct val="120000"/>
        <a:buFont typeface="Arial" panose="020B0604020202020204" pitchFamily="34" charset="0"/>
        <a:buChar char="–"/>
        <a:tabLst/>
        <a:defRPr kumimoji="0" lang="en-US" sz="1600" b="0" i="0" u="none" strike="noStrike" kern="1200" cap="none" spc="0" normalizeH="0" baseline="0">
          <a:ln>
            <a:noFill/>
          </a:ln>
          <a:solidFill>
            <a:srgbClr val="000000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9965" marR="0" indent="-239989" algn="l" defTabSz="609570" rtl="0" eaLnBrk="1" fontAlgn="auto" latinLnBrk="0" hangingPunct="1">
        <a:lnSpc>
          <a:spcPct val="120000"/>
        </a:lnSpc>
        <a:spcBef>
          <a:spcPts val="300"/>
        </a:spcBef>
        <a:spcAft>
          <a:spcPts val="0"/>
        </a:spcAft>
        <a:buClr>
          <a:srgbClr val="5B5B5B"/>
        </a:buClr>
        <a:buSzPct val="120000"/>
        <a:buFont typeface="Arial" panose="020B0604020202020204" pitchFamily="34" charset="0"/>
        <a:buChar char="▫"/>
        <a:tabLst/>
        <a:defRPr kumimoji="0" lang="en-US" sz="1600" b="0" i="0" u="none" strike="noStrike" kern="1200" cap="none" spc="0" normalizeH="0" baseline="0">
          <a:ln>
            <a:noFill/>
          </a:ln>
          <a:solidFill>
            <a:srgbClr val="000000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59952" marR="0" indent="-239989" algn="l" defTabSz="609570" rtl="0" eaLnBrk="1" fontAlgn="auto" latinLnBrk="0" hangingPunct="1">
        <a:lnSpc>
          <a:spcPct val="120000"/>
        </a:lnSpc>
        <a:spcBef>
          <a:spcPts val="300"/>
        </a:spcBef>
        <a:spcAft>
          <a:spcPts val="0"/>
        </a:spcAft>
        <a:buClr>
          <a:srgbClr val="5B5B5B"/>
        </a:buClr>
        <a:buSzPct val="89000"/>
        <a:buFont typeface="Corbel" panose="020B0503020204020204" pitchFamily="34" charset="0"/>
        <a:buChar char="–"/>
        <a:tabLst/>
        <a:defRPr kumimoji="0" lang="en-US" sz="1600" b="0" i="0" u="none" strike="noStrike" kern="1200" cap="none" spc="0" normalizeH="0" baseline="0">
          <a:ln>
            <a:noFill/>
          </a:ln>
          <a:solidFill>
            <a:srgbClr val="000000"/>
          </a:solidFill>
          <a:effectLst/>
          <a:uLnTx/>
          <a:uFillTx/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525735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1252538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7.w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10" Type="http://schemas.microsoft.com/office/2007/relationships/hdphoto" Target="../media/hdphoto1.wdp"/><Relationship Id="rId4" Type="http://schemas.openxmlformats.org/officeDocument/2006/relationships/image" Target="../media/image21.jpg"/><Relationship Id="rId9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CH" dirty="0"/>
              <a:t>Section SAQ VD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CH" dirty="0"/>
              <a:t>Bussigny-sur-Lausanne, 14 Juin 2023</a:t>
            </a:r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ssemblée Générale 2023</a:t>
            </a:r>
          </a:p>
        </p:txBody>
      </p:sp>
    </p:spTree>
    <p:extLst>
      <p:ext uri="{BB962C8B-B14F-4D97-AF65-F5344CB8AC3E}">
        <p14:creationId xmlns:p14="http://schemas.microsoft.com/office/powerpoint/2010/main" val="38714657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Une image contenant texte, Parallèle, ligne, capture d’écran&#10;&#10;Description générée automatiquement">
            <a:extLst>
              <a:ext uri="{FF2B5EF4-FFF2-40B4-BE49-F238E27FC236}">
                <a16:creationId xmlns:a16="http://schemas.microsoft.com/office/drawing/2014/main" id="{210B0029-3FDE-9AB6-36BF-CAC263ACC4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98" y="1979328"/>
            <a:ext cx="5691646" cy="37143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Fréquentation des manifestations 2022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335998" y="999121"/>
            <a:ext cx="9249961" cy="215444"/>
          </a:xfrm>
        </p:spPr>
        <p:txBody>
          <a:bodyPr/>
          <a:lstStyle/>
          <a:p>
            <a:r>
              <a:rPr lang="fr-CH" dirty="0"/>
              <a:t>Fréquentation en baisse. Dynamisme à assurer en 2023.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fr-FR" dirty="0"/>
              <a:t>Source: SAQ VD</a:t>
            </a:r>
          </a:p>
        </p:txBody>
      </p:sp>
      <p:grpSp>
        <p:nvGrpSpPr>
          <p:cNvPr id="8" name="Groupe 6"/>
          <p:cNvGrpSpPr/>
          <p:nvPr/>
        </p:nvGrpSpPr>
        <p:grpSpPr>
          <a:xfrm>
            <a:off x="12400028" y="3809760"/>
            <a:ext cx="252000" cy="123296"/>
            <a:chOff x="7956376" y="6330040"/>
            <a:chExt cx="252000" cy="123296"/>
          </a:xfrm>
        </p:grpSpPr>
        <p:sp>
          <p:nvSpPr>
            <p:cNvPr id="9" name="Rectangle 8"/>
            <p:cNvSpPr/>
            <p:nvPr/>
          </p:nvSpPr>
          <p:spPr bwMode="auto">
            <a:xfrm>
              <a:off x="7956376" y="6330040"/>
              <a:ext cx="252000" cy="36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fr-CH">
                <a:solidFill>
                  <a:schemeClr val="tx1"/>
                </a:solidFill>
                <a:latin typeface="Times" pitchFamily="18" charset="0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7956376" y="6417336"/>
              <a:ext cx="252000" cy="36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fr-CH">
                <a:solidFill>
                  <a:schemeClr val="tx1"/>
                </a:solidFill>
                <a:latin typeface="Times" pitchFamily="18" charset="0"/>
              </a:endParaRPr>
            </a:p>
          </p:txBody>
        </p:sp>
      </p:grpSp>
      <p:sp>
        <p:nvSpPr>
          <p:cNvPr id="11" name="Flèche vers le haut 10"/>
          <p:cNvSpPr/>
          <p:nvPr/>
        </p:nvSpPr>
        <p:spPr bwMode="auto">
          <a:xfrm rot="2288333">
            <a:off x="12418028" y="3489191"/>
            <a:ext cx="216000" cy="216000"/>
          </a:xfrm>
          <a:prstGeom prst="upArrow">
            <a:avLst/>
          </a:prstGeom>
          <a:solidFill>
            <a:schemeClr val="accent4"/>
          </a:solidFill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CH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18" charset="0"/>
            </a:endParaRPr>
          </a:p>
        </p:txBody>
      </p:sp>
      <p:sp>
        <p:nvSpPr>
          <p:cNvPr id="12" name="Flèche vers le haut 11"/>
          <p:cNvSpPr/>
          <p:nvPr/>
        </p:nvSpPr>
        <p:spPr bwMode="auto">
          <a:xfrm rot="19311667" flipV="1">
            <a:off x="12443669" y="4027994"/>
            <a:ext cx="216000" cy="216000"/>
          </a:xfrm>
          <a:prstGeom prst="upArrow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CH">
              <a:solidFill>
                <a:schemeClr val="tx1"/>
              </a:solidFill>
              <a:latin typeface="Times" pitchFamily="18" charset="0"/>
            </a:endParaRPr>
          </a:p>
        </p:txBody>
      </p:sp>
      <p:graphicFrame>
        <p:nvGraphicFramePr>
          <p:cNvPr id="13" name="Tableau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867788"/>
              </p:ext>
            </p:extLst>
          </p:nvPr>
        </p:nvGraphicFramePr>
        <p:xfrm>
          <a:off x="6095999" y="2702243"/>
          <a:ext cx="5997805" cy="19405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2541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03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03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0366">
                  <a:extLst>
                    <a:ext uri="{9D8B030D-6E8A-4147-A177-3AD203B41FA5}">
                      <a16:colId xmlns:a16="http://schemas.microsoft.com/office/drawing/2014/main" val="2979978775"/>
                    </a:ext>
                  </a:extLst>
                </a:gridCol>
                <a:gridCol w="697230">
                  <a:extLst>
                    <a:ext uri="{9D8B030D-6E8A-4147-A177-3AD203B41FA5}">
                      <a16:colId xmlns:a16="http://schemas.microsoft.com/office/drawing/2014/main" val="4182288694"/>
                    </a:ext>
                  </a:extLst>
                </a:gridCol>
                <a:gridCol w="577655">
                  <a:extLst>
                    <a:ext uri="{9D8B030D-6E8A-4147-A177-3AD203B41FA5}">
                      <a16:colId xmlns:a16="http://schemas.microsoft.com/office/drawing/2014/main" val="690561063"/>
                    </a:ext>
                  </a:extLst>
                </a:gridCol>
                <a:gridCol w="57765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CH" sz="1200" dirty="0"/>
                        <a:t>Fréquentation</a:t>
                      </a:r>
                      <a:r>
                        <a:rPr lang="fr-CH" sz="1200" baseline="0" dirty="0"/>
                        <a:t> [Nb part.]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2017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2018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20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2020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Tend.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200" dirty="0"/>
                        <a:t>Moyenne cumulée &gt; 2012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46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43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4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4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200" dirty="0"/>
                        <a:t>Moyenne annuelle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28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17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200" dirty="0"/>
                        <a:t>Nb total annuels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85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1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1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/>
                        <a:t>1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1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CH" sz="1200" dirty="0">
                          <a:latin typeface="+mn-lt"/>
                        </a:rPr>
                        <a:t>Moyenne autres sec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dirty="0">
                          <a:latin typeface="+mn-lt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>
                          <a:latin typeface="+mn-lt"/>
                        </a:rPr>
                        <a:t>-</a:t>
                      </a:r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1908168"/>
                  </a:ext>
                </a:extLst>
              </a:tr>
            </a:tbl>
          </a:graphicData>
        </a:graphic>
      </p:graphicFrame>
      <p:sp>
        <p:nvSpPr>
          <p:cNvPr id="5" name="Flèche vers le haut 11">
            <a:extLst>
              <a:ext uri="{FF2B5EF4-FFF2-40B4-BE49-F238E27FC236}">
                <a16:creationId xmlns:a16="http://schemas.microsoft.com/office/drawing/2014/main" id="{59CE6712-22A1-67DF-CAE5-980F53782465}"/>
              </a:ext>
            </a:extLst>
          </p:cNvPr>
          <p:cNvSpPr/>
          <p:nvPr/>
        </p:nvSpPr>
        <p:spPr bwMode="auto">
          <a:xfrm rot="19311667" flipV="1">
            <a:off x="11683280" y="3266948"/>
            <a:ext cx="216000" cy="216000"/>
          </a:xfrm>
          <a:prstGeom prst="upArrow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CH">
              <a:solidFill>
                <a:schemeClr val="tx1"/>
              </a:solidFill>
              <a:latin typeface="Times" pitchFamily="18" charset="0"/>
            </a:endParaRPr>
          </a:p>
        </p:txBody>
      </p:sp>
      <p:sp>
        <p:nvSpPr>
          <p:cNvPr id="14" name="Flèche vers le haut 11">
            <a:extLst>
              <a:ext uri="{FF2B5EF4-FFF2-40B4-BE49-F238E27FC236}">
                <a16:creationId xmlns:a16="http://schemas.microsoft.com/office/drawing/2014/main" id="{D437E40D-7C9F-B83D-4E74-374003E76072}"/>
              </a:ext>
            </a:extLst>
          </p:cNvPr>
          <p:cNvSpPr/>
          <p:nvPr/>
        </p:nvSpPr>
        <p:spPr bwMode="auto">
          <a:xfrm rot="19311667" flipV="1">
            <a:off x="11683282" y="3637416"/>
            <a:ext cx="216000" cy="216000"/>
          </a:xfrm>
          <a:prstGeom prst="upArrow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CH">
              <a:solidFill>
                <a:schemeClr val="tx1"/>
              </a:solidFill>
              <a:latin typeface="Times" pitchFamily="18" charset="0"/>
            </a:endParaRPr>
          </a:p>
        </p:txBody>
      </p:sp>
      <p:sp>
        <p:nvSpPr>
          <p:cNvPr id="15" name="Flèche vers le haut 11">
            <a:extLst>
              <a:ext uri="{FF2B5EF4-FFF2-40B4-BE49-F238E27FC236}">
                <a16:creationId xmlns:a16="http://schemas.microsoft.com/office/drawing/2014/main" id="{54E8C1F7-111A-3CAF-99FC-BF81DFAC9713}"/>
              </a:ext>
            </a:extLst>
          </p:cNvPr>
          <p:cNvSpPr/>
          <p:nvPr/>
        </p:nvSpPr>
        <p:spPr bwMode="auto">
          <a:xfrm rot="19311667" flipV="1">
            <a:off x="11683280" y="3976696"/>
            <a:ext cx="216000" cy="216000"/>
          </a:xfrm>
          <a:prstGeom prst="upArrow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CH">
              <a:solidFill>
                <a:schemeClr val="tx1"/>
              </a:solidFill>
              <a:latin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0598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3EEF4585-BFD3-02D3-E80D-CBFC281305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2276" y="3545966"/>
            <a:ext cx="3834754" cy="2503765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AE1CD6CE-7B2C-9015-BCFF-9C7EC94896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294" y="1824152"/>
            <a:ext cx="6478111" cy="4232423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embres de section 2022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335998" y="999121"/>
            <a:ext cx="9249961" cy="215444"/>
          </a:xfrm>
        </p:spPr>
        <p:txBody>
          <a:bodyPr/>
          <a:lstStyle/>
          <a:p>
            <a:r>
              <a:rPr lang="fr-CH" dirty="0"/>
              <a:t>Stabilisation à 70aine de membres depuis 2020 </a:t>
            </a:r>
            <a:r>
              <a:rPr lang="fr-CH" dirty="0">
                <a:sym typeface="Wingdings"/>
              </a:rPr>
              <a:t> objectif à 80 membres</a:t>
            </a:r>
            <a:endParaRPr lang="fr-CH" dirty="0"/>
          </a:p>
        </p:txBody>
      </p:sp>
      <p:sp>
        <p:nvSpPr>
          <p:cNvPr id="7" name="Espace réservé du contenu 6"/>
          <p:cNvSpPr>
            <a:spLocks noGrp="1"/>
          </p:cNvSpPr>
          <p:nvPr>
            <p:ph idx="16"/>
          </p:nvPr>
        </p:nvSpPr>
        <p:spPr>
          <a:xfrm>
            <a:off x="335998" y="6541239"/>
            <a:ext cx="9249962" cy="153888"/>
          </a:xfrm>
        </p:spPr>
        <p:txBody>
          <a:bodyPr/>
          <a:lstStyle/>
          <a:p>
            <a:r>
              <a:rPr lang="fr-FR" dirty="0"/>
              <a:t>Source : SAQ</a:t>
            </a:r>
          </a:p>
        </p:txBody>
      </p:sp>
      <p:sp>
        <p:nvSpPr>
          <p:cNvPr id="11" name="Espace réservé du texte 1">
            <a:extLst>
              <a:ext uri="{FF2B5EF4-FFF2-40B4-BE49-F238E27FC236}">
                <a16:creationId xmlns:a16="http://schemas.microsoft.com/office/drawing/2014/main" id="{F4884EB7-DA4F-4889-B263-98D9FC8068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219405" y="1771378"/>
            <a:ext cx="4645301" cy="1317284"/>
          </a:xfrm>
        </p:spPr>
        <p:txBody>
          <a:bodyPr/>
          <a:lstStyle/>
          <a:p>
            <a:r>
              <a:rPr lang="fr-CH" sz="1400" dirty="0"/>
              <a:t>Fin 2021, on compte 73 membres, à savoir:</a:t>
            </a:r>
          </a:p>
          <a:p>
            <a:pPr lvl="1"/>
            <a:r>
              <a:rPr lang="fr-CH" sz="1400" dirty="0"/>
              <a:t>4 affiliations</a:t>
            </a:r>
          </a:p>
          <a:p>
            <a:pPr lvl="1"/>
            <a:r>
              <a:rPr lang="fr-CH" sz="1400" dirty="0"/>
              <a:t>6 démissions</a:t>
            </a:r>
          </a:p>
          <a:p>
            <a:r>
              <a:rPr lang="fr-CH" sz="1400" dirty="0"/>
              <a:t>Fin janvier 2023, on compte 71 membres, à savoir:</a:t>
            </a:r>
          </a:p>
          <a:p>
            <a:r>
              <a:rPr lang="fr-CH" sz="1400" dirty="0"/>
              <a:t>Objectif :</a:t>
            </a:r>
            <a:r>
              <a:rPr lang="fr-CH" sz="1400" dirty="0">
                <a:sym typeface="Wingdings" panose="05000000000000000000" pitchFamily="2" charset="2"/>
              </a:rPr>
              <a:t> 80 membres.</a:t>
            </a:r>
          </a:p>
        </p:txBody>
      </p:sp>
    </p:spTree>
    <p:extLst>
      <p:ext uri="{BB962C8B-B14F-4D97-AF65-F5344CB8AC3E}">
        <p14:creationId xmlns:p14="http://schemas.microsoft.com/office/powerpoint/2010/main" val="1929311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4. Comptes</a:t>
            </a:r>
          </a:p>
        </p:txBody>
      </p:sp>
    </p:spTree>
    <p:extLst>
      <p:ext uri="{BB962C8B-B14F-4D97-AF65-F5344CB8AC3E}">
        <p14:creationId xmlns:p14="http://schemas.microsoft.com/office/powerpoint/2010/main" val="2910910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9F7D5C10-C1DF-4EE9-B061-DF9FD5FDC091}"/>
              </a:ext>
            </a:extLst>
          </p:cNvPr>
          <p:cNvSpPr txBox="1"/>
          <p:nvPr/>
        </p:nvSpPr>
        <p:spPr>
          <a:xfrm>
            <a:off x="795481" y="845140"/>
            <a:ext cx="8496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 du Trésorier – P&amp;C 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AB09AC4-CEA3-4875-A5DB-E8DE63030DCC}"/>
              </a:ext>
            </a:extLst>
          </p:cNvPr>
          <p:cNvCxnSpPr>
            <a:cxnSpLocks/>
          </p:cNvCxnSpPr>
          <p:nvPr/>
        </p:nvCxnSpPr>
        <p:spPr>
          <a:xfrm>
            <a:off x="859536" y="1517904"/>
            <a:ext cx="1097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04BE382-74FB-4D7F-82AC-393C73E8776D}"/>
              </a:ext>
            </a:extLst>
          </p:cNvPr>
          <p:cNvCxnSpPr>
            <a:cxnSpLocks/>
          </p:cNvCxnSpPr>
          <p:nvPr/>
        </p:nvCxnSpPr>
        <p:spPr>
          <a:xfrm>
            <a:off x="859536" y="6306312"/>
            <a:ext cx="109819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CFA7F7A-9D00-40CD-B17C-15B17F620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6" y="6347880"/>
            <a:ext cx="2743200" cy="365125"/>
          </a:xfrm>
        </p:spPr>
        <p:txBody>
          <a:bodyPr rIns="0"/>
          <a:lstStyle/>
          <a:p>
            <a:fld id="{896FAA0E-1349-4C2E-95E3-CBEE3C1D9BF5}" type="slidenum">
              <a:rPr lang="fr-CH" sz="1000" smtClean="0">
                <a:latin typeface="Arial" panose="020B0604020202020204" pitchFamily="34" charset="0"/>
                <a:cs typeface="Arial" panose="020B0604020202020204" pitchFamily="34" charset="0"/>
              </a:rPr>
              <a:t>12</a:t>
            </a:fld>
            <a:endParaRPr lang="fr-CH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93F2AC94-35A3-417B-B6AC-1642083E43E3}"/>
              </a:ext>
            </a:extLst>
          </p:cNvPr>
          <p:cNvGraphicFramePr>
            <a:graphicFrameLocks noGrp="1"/>
          </p:cNvGraphicFramePr>
          <p:nvPr/>
        </p:nvGraphicFramePr>
        <p:xfrm>
          <a:off x="1497498" y="2137149"/>
          <a:ext cx="9061725" cy="288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36335">
                  <a:extLst>
                    <a:ext uri="{9D8B030D-6E8A-4147-A177-3AD203B41FA5}">
                      <a16:colId xmlns:a16="http://schemas.microsoft.com/office/drawing/2014/main" val="2815027770"/>
                    </a:ext>
                  </a:extLst>
                </a:gridCol>
                <a:gridCol w="974725">
                  <a:extLst>
                    <a:ext uri="{9D8B030D-6E8A-4147-A177-3AD203B41FA5}">
                      <a16:colId xmlns:a16="http://schemas.microsoft.com/office/drawing/2014/main" val="1031482357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val="2214576220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val="827728389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val="600177614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val="3447947962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val="298517613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b"/>
                      <a:endParaRPr lang="fr-CH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dget 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CH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ésultats 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CH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ésultats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fr-CH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11567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/>
                      <a:endParaRPr lang="fr-CH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épens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épens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épens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ette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7657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nifestations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>
                        <a:tabLst/>
                      </a:pPr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’75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87679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ais généraux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’301.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’374.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42965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keting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83259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’374.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63771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ésultats </a:t>
                      </a:r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fr-CH" sz="16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Bénéfice</a:t>
                      </a:r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fr-CH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erte</a:t>
                      </a:r>
                      <a:r>
                        <a:rPr lang="fr-CH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CH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.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fr-CH" sz="20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51.4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’144.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7993694"/>
                  </a:ext>
                </a:extLst>
              </a:tr>
            </a:tbl>
          </a:graphicData>
        </a:graphic>
      </p:graphicFrame>
      <p:sp>
        <p:nvSpPr>
          <p:cNvPr id="10" name="Espace réservé du contenu 8">
            <a:extLst>
              <a:ext uri="{FF2B5EF4-FFF2-40B4-BE49-F238E27FC236}">
                <a16:creationId xmlns:a16="http://schemas.microsoft.com/office/drawing/2014/main" id="{DCD65731-72AA-4D5B-8D51-B6C605AE687D}"/>
              </a:ext>
            </a:extLst>
          </p:cNvPr>
          <p:cNvSpPr txBox="1">
            <a:spLocks/>
          </p:cNvSpPr>
          <p:nvPr/>
        </p:nvSpPr>
        <p:spPr>
          <a:xfrm>
            <a:off x="3766571" y="1475483"/>
            <a:ext cx="4688317" cy="7435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2800" dirty="0">
                <a:solidFill>
                  <a:srgbClr val="FF0000"/>
                </a:solidFill>
              </a:rPr>
              <a:t>Produits et Charges</a:t>
            </a:r>
          </a:p>
        </p:txBody>
      </p:sp>
      <p:sp>
        <p:nvSpPr>
          <p:cNvPr id="14" name="Espace réservé du contenu 8">
            <a:extLst>
              <a:ext uri="{FF2B5EF4-FFF2-40B4-BE49-F238E27FC236}">
                <a16:creationId xmlns:a16="http://schemas.microsoft.com/office/drawing/2014/main" id="{341A37BA-C63A-4DB3-805B-28C779F1665C}"/>
              </a:ext>
            </a:extLst>
          </p:cNvPr>
          <p:cNvSpPr txBox="1">
            <a:spLocks/>
          </p:cNvSpPr>
          <p:nvPr/>
        </p:nvSpPr>
        <p:spPr>
          <a:xfrm>
            <a:off x="1497497" y="5142070"/>
            <a:ext cx="9177133" cy="10728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7550" lvl="1" indent="-481013" algn="l">
              <a:buFont typeface="Wingdings" panose="05000000000000000000" pitchFamily="2" charset="2"/>
              <a:buChar char="Ø"/>
            </a:pPr>
            <a:r>
              <a:rPr lang="fr-CH" sz="2400" dirty="0">
                <a:solidFill>
                  <a:schemeClr val="tx1"/>
                </a:solidFill>
              </a:rPr>
              <a:t>L’exercice se solde par une perte de CHF 551.41</a:t>
            </a:r>
          </a:p>
        </p:txBody>
      </p:sp>
      <p:pic>
        <p:nvPicPr>
          <p:cNvPr id="3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0A79321-B8E5-430D-9068-AF01B89DD3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1631" y="210835"/>
            <a:ext cx="2535184" cy="107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86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9F7D5C10-C1DF-4EE9-B061-DF9FD5FDC091}"/>
              </a:ext>
            </a:extLst>
          </p:cNvPr>
          <p:cNvSpPr txBox="1"/>
          <p:nvPr/>
        </p:nvSpPr>
        <p:spPr>
          <a:xfrm>
            <a:off x="795481" y="845140"/>
            <a:ext cx="85357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 du Trésorier – Bilan 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AB09AC4-CEA3-4875-A5DB-E8DE63030DCC}"/>
              </a:ext>
            </a:extLst>
          </p:cNvPr>
          <p:cNvCxnSpPr>
            <a:cxnSpLocks/>
          </p:cNvCxnSpPr>
          <p:nvPr/>
        </p:nvCxnSpPr>
        <p:spPr>
          <a:xfrm>
            <a:off x="859536" y="1517904"/>
            <a:ext cx="1097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04BE382-74FB-4D7F-82AC-393C73E8776D}"/>
              </a:ext>
            </a:extLst>
          </p:cNvPr>
          <p:cNvCxnSpPr>
            <a:cxnSpLocks/>
          </p:cNvCxnSpPr>
          <p:nvPr/>
        </p:nvCxnSpPr>
        <p:spPr>
          <a:xfrm>
            <a:off x="859536" y="6306312"/>
            <a:ext cx="109819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CFA7F7A-9D00-40CD-B17C-15B17F620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6" y="6347880"/>
            <a:ext cx="2743200" cy="365125"/>
          </a:xfrm>
        </p:spPr>
        <p:txBody>
          <a:bodyPr rIns="0"/>
          <a:lstStyle/>
          <a:p>
            <a:fld id="{896FAA0E-1349-4C2E-95E3-CBEE3C1D9BF5}" type="slidenum">
              <a:rPr lang="fr-CH" sz="1000" smtClean="0">
                <a:latin typeface="Arial" panose="020B0604020202020204" pitchFamily="34" charset="0"/>
                <a:cs typeface="Arial" panose="020B0604020202020204" pitchFamily="34" charset="0"/>
              </a:rPr>
              <a:t>13</a:t>
            </a:fld>
            <a:endParaRPr lang="fr-CH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93F2AC94-35A3-417B-B6AC-1642083E43E3}"/>
              </a:ext>
            </a:extLst>
          </p:cNvPr>
          <p:cNvGraphicFramePr>
            <a:graphicFrameLocks noGrp="1"/>
          </p:cNvGraphicFramePr>
          <p:nvPr/>
        </p:nvGraphicFramePr>
        <p:xfrm>
          <a:off x="2958549" y="2512568"/>
          <a:ext cx="6274902" cy="165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64056">
                  <a:extLst>
                    <a:ext uri="{9D8B030D-6E8A-4147-A177-3AD203B41FA5}">
                      <a16:colId xmlns:a16="http://schemas.microsoft.com/office/drawing/2014/main" val="2815027770"/>
                    </a:ext>
                  </a:extLst>
                </a:gridCol>
                <a:gridCol w="1555423">
                  <a:extLst>
                    <a:ext uri="{9D8B030D-6E8A-4147-A177-3AD203B41FA5}">
                      <a16:colId xmlns:a16="http://schemas.microsoft.com/office/drawing/2014/main" val="600177614"/>
                    </a:ext>
                  </a:extLst>
                </a:gridCol>
                <a:gridCol w="1555423">
                  <a:extLst>
                    <a:ext uri="{9D8B030D-6E8A-4147-A177-3AD203B41FA5}">
                      <a16:colId xmlns:a16="http://schemas.microsoft.com/office/drawing/2014/main" val="298517613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fontAlgn="b"/>
                      <a:endParaRPr lang="fr-CH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0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0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7657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te bancair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’745.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’297.4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87679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isse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7.0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7.0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142965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l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’718.9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CH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’270.4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637711"/>
                  </a:ext>
                </a:extLst>
              </a:tr>
            </a:tbl>
          </a:graphicData>
        </a:graphic>
      </p:graphicFrame>
      <p:sp>
        <p:nvSpPr>
          <p:cNvPr id="10" name="Espace réservé du contenu 8">
            <a:extLst>
              <a:ext uri="{FF2B5EF4-FFF2-40B4-BE49-F238E27FC236}">
                <a16:creationId xmlns:a16="http://schemas.microsoft.com/office/drawing/2014/main" id="{DCD65731-72AA-4D5B-8D51-B6C605AE687D}"/>
              </a:ext>
            </a:extLst>
          </p:cNvPr>
          <p:cNvSpPr txBox="1">
            <a:spLocks/>
          </p:cNvSpPr>
          <p:nvPr/>
        </p:nvSpPr>
        <p:spPr>
          <a:xfrm>
            <a:off x="3766571" y="1694141"/>
            <a:ext cx="4688317" cy="7435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sz="2800" dirty="0">
                <a:solidFill>
                  <a:srgbClr val="FF0000"/>
                </a:solidFill>
              </a:rPr>
              <a:t>Fortune</a:t>
            </a:r>
          </a:p>
        </p:txBody>
      </p:sp>
      <p:sp>
        <p:nvSpPr>
          <p:cNvPr id="14" name="Espace réservé du contenu 8">
            <a:extLst>
              <a:ext uri="{FF2B5EF4-FFF2-40B4-BE49-F238E27FC236}">
                <a16:creationId xmlns:a16="http://schemas.microsoft.com/office/drawing/2014/main" id="{AEFCA400-AE9D-4530-A289-246610E7A94B}"/>
              </a:ext>
            </a:extLst>
          </p:cNvPr>
          <p:cNvSpPr txBox="1">
            <a:spLocks/>
          </p:cNvSpPr>
          <p:nvPr/>
        </p:nvSpPr>
        <p:spPr>
          <a:xfrm>
            <a:off x="1139687" y="4322384"/>
            <a:ext cx="10224052" cy="15896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28700" lvl="1" indent="-571500" algn="l">
              <a:buFont typeface="Wingdings" panose="05000000000000000000" pitchFamily="2" charset="2"/>
              <a:buChar char="Ø"/>
            </a:pPr>
            <a:r>
              <a:rPr lang="fr-CH" sz="2400" dirty="0">
                <a:solidFill>
                  <a:schemeClr val="tx1"/>
                </a:solidFill>
              </a:rPr>
              <a:t>La fortune de la section est en diminution du montant de la perte 2022.</a:t>
            </a:r>
          </a:p>
          <a:p>
            <a:pPr marL="1028700" lvl="1" indent="-571500" algn="l">
              <a:buFont typeface="Wingdings" panose="05000000000000000000" pitchFamily="2" charset="2"/>
              <a:buChar char="Ø"/>
            </a:pPr>
            <a:r>
              <a:rPr lang="fr-CH" sz="2400" dirty="0">
                <a:solidFill>
                  <a:schemeClr val="tx1"/>
                </a:solidFill>
              </a:rPr>
              <a:t>Un fonctionnement d’une année sans aucun revenu peut être assuré.</a:t>
            </a:r>
          </a:p>
        </p:txBody>
      </p:sp>
      <p:pic>
        <p:nvPicPr>
          <p:cNvPr id="15" name="Grafik 14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DCE3F5A1-12E8-4221-A0F4-C27A1518DE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205" y="144995"/>
            <a:ext cx="2501131" cy="1063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354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9F7D5C10-C1DF-4EE9-B061-DF9FD5FDC091}"/>
              </a:ext>
            </a:extLst>
          </p:cNvPr>
          <p:cNvSpPr txBox="1"/>
          <p:nvPr/>
        </p:nvSpPr>
        <p:spPr>
          <a:xfrm>
            <a:off x="795481" y="845140"/>
            <a:ext cx="66207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 des vérificateurs de comptes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AB09AC4-CEA3-4875-A5DB-E8DE63030DCC}"/>
              </a:ext>
            </a:extLst>
          </p:cNvPr>
          <p:cNvCxnSpPr>
            <a:cxnSpLocks/>
          </p:cNvCxnSpPr>
          <p:nvPr/>
        </p:nvCxnSpPr>
        <p:spPr>
          <a:xfrm>
            <a:off x="859536" y="1517904"/>
            <a:ext cx="1097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04BE382-74FB-4D7F-82AC-393C73E8776D}"/>
              </a:ext>
            </a:extLst>
          </p:cNvPr>
          <p:cNvCxnSpPr>
            <a:cxnSpLocks/>
          </p:cNvCxnSpPr>
          <p:nvPr/>
        </p:nvCxnSpPr>
        <p:spPr>
          <a:xfrm>
            <a:off x="859536" y="6306312"/>
            <a:ext cx="109819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CFA7F7A-9D00-40CD-B17C-15B17F620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6" y="6347880"/>
            <a:ext cx="2743200" cy="365125"/>
          </a:xfrm>
        </p:spPr>
        <p:txBody>
          <a:bodyPr rIns="0"/>
          <a:lstStyle/>
          <a:p>
            <a:fld id="{896FAA0E-1349-4C2E-95E3-CBEE3C1D9BF5}" type="slidenum">
              <a:rPr lang="fr-CH" sz="1000" smtClean="0">
                <a:latin typeface="Arial" panose="020B0604020202020204" pitchFamily="34" charset="0"/>
                <a:cs typeface="Arial" panose="020B0604020202020204" pitchFamily="34" charset="0"/>
              </a:rPr>
              <a:t>14</a:t>
            </a:fld>
            <a:endParaRPr lang="fr-CH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5B5B6A66-E3DD-4D6D-9B74-8CB5BFE0C8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7952655"/>
              </p:ext>
            </p:extLst>
          </p:nvPr>
        </p:nvGraphicFramePr>
        <p:xfrm>
          <a:off x="444459" y="2825182"/>
          <a:ext cx="4551093" cy="18240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82138">
                  <a:extLst>
                    <a:ext uri="{9D8B030D-6E8A-4147-A177-3AD203B41FA5}">
                      <a16:colId xmlns:a16="http://schemas.microsoft.com/office/drawing/2014/main" val="2815027770"/>
                    </a:ext>
                  </a:extLst>
                </a:gridCol>
                <a:gridCol w="115685">
                  <a:extLst>
                    <a:ext uri="{9D8B030D-6E8A-4147-A177-3AD203B41FA5}">
                      <a16:colId xmlns:a16="http://schemas.microsoft.com/office/drawing/2014/main" val="2636646198"/>
                    </a:ext>
                  </a:extLst>
                </a:gridCol>
                <a:gridCol w="2753270">
                  <a:extLst>
                    <a:ext uri="{9D8B030D-6E8A-4147-A177-3AD203B41FA5}">
                      <a16:colId xmlns:a16="http://schemas.microsoft.com/office/drawing/2014/main" val="1031482357"/>
                    </a:ext>
                  </a:extLst>
                </a:gridCol>
              </a:tblGrid>
              <a:tr h="206693"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u="none" strike="noStrike" dirty="0">
                          <a:effectLst/>
                        </a:rPr>
                        <a:t>1</a:t>
                      </a:r>
                      <a:r>
                        <a:rPr lang="fr-CH" sz="1800" u="none" strike="noStrike" baseline="30000" dirty="0">
                          <a:effectLst/>
                        </a:rPr>
                        <a:t>er</a:t>
                      </a:r>
                      <a:r>
                        <a:rPr lang="fr-CH" sz="1800" u="none" strike="noStrike" dirty="0">
                          <a:effectLst/>
                        </a:rPr>
                        <a:t> vérificateur</a:t>
                      </a:r>
                      <a:endParaRPr lang="fr-CH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: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u="none" strike="noStrike" dirty="0">
                          <a:effectLst/>
                        </a:rPr>
                        <a:t>Manuela Magni</a:t>
                      </a:r>
                    </a:p>
                    <a:p>
                      <a:pPr algn="l" fontAlgn="b"/>
                      <a:endParaRPr lang="fr-CH" sz="18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765700"/>
                  </a:ext>
                </a:extLst>
              </a:tr>
              <a:tr h="257661"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u="none" strike="noStrike" dirty="0">
                          <a:effectLst/>
                        </a:rPr>
                        <a:t>2</a:t>
                      </a:r>
                      <a:r>
                        <a:rPr lang="fr-CH" sz="1800" u="none" strike="noStrike" baseline="30000" dirty="0">
                          <a:effectLst/>
                        </a:rPr>
                        <a:t>ème</a:t>
                      </a:r>
                      <a:r>
                        <a:rPr lang="fr-CH" sz="1800" u="none" strike="noStrike" dirty="0">
                          <a:effectLst/>
                        </a:rPr>
                        <a:t> vérificateur</a:t>
                      </a:r>
                    </a:p>
                    <a:p>
                      <a:pPr algn="l" fontAlgn="b"/>
                      <a:endParaRPr lang="fr-CH" sz="1800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u="none" strike="noStrike" dirty="0">
                          <a:effectLst/>
                        </a:rPr>
                        <a:t>: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1800" u="none" strike="noStrike" dirty="0">
                          <a:effectLst/>
                        </a:rPr>
                        <a:t>Jean-Pierre </a:t>
                      </a:r>
                      <a:r>
                        <a:rPr lang="fr-CH" sz="1800" u="none" strike="noStrike" dirty="0" err="1">
                          <a:effectLst/>
                        </a:rPr>
                        <a:t>Giacobetti</a:t>
                      </a:r>
                      <a:endParaRPr lang="fr-CH" sz="1800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876794"/>
                  </a:ext>
                </a:extLst>
              </a:tr>
              <a:tr h="454358">
                <a:tc gridSpan="3">
                  <a:txBody>
                    <a:bodyPr/>
                    <a:lstStyle/>
                    <a:p>
                      <a:pPr algn="l" fontAlgn="b"/>
                      <a:endParaRPr lang="fr-CH" sz="1600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CH" sz="2000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CH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049054"/>
                  </a:ext>
                </a:extLst>
              </a:tr>
              <a:tr h="115503">
                <a:tc gridSpan="3">
                  <a:txBody>
                    <a:bodyPr/>
                    <a:lstStyle/>
                    <a:p>
                      <a:pPr algn="l" fontAlgn="b"/>
                      <a:endParaRPr lang="fr-CH" sz="1600" i="1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CH" sz="2000" u="none" strike="noStrike" dirty="0">
                        <a:effectLst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fr-CH" sz="16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978981"/>
                  </a:ext>
                </a:extLst>
              </a:tr>
            </a:tbl>
          </a:graphicData>
        </a:graphic>
      </p:graphicFrame>
      <p:pic>
        <p:nvPicPr>
          <p:cNvPr id="14" name="Grafik 13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68E69BA7-7094-4729-8709-9A5A201A5F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152" y="172530"/>
            <a:ext cx="2535184" cy="1077795"/>
          </a:xfrm>
          <a:prstGeom prst="rect">
            <a:avLst/>
          </a:prstGeom>
        </p:spPr>
      </p:pic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39A68435-44A4-26D0-DE4D-E31309186BF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3581272"/>
              </p:ext>
            </p:extLst>
          </p:nvPr>
        </p:nvGraphicFramePr>
        <p:xfrm>
          <a:off x="8596413" y="1752108"/>
          <a:ext cx="3052984" cy="432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3" imgW="5667480" imgH="8020080" progId="Acrobat.Document.DC">
                  <p:embed/>
                </p:oleObj>
              </mc:Choice>
              <mc:Fallback>
                <p:oleObj name="Acrobat Document" r:id="rId3" imgW="5667480" imgH="8020080" progId="Acrobat.Document.DC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39A68435-44A4-26D0-DE4D-E31309186B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596413" y="1752108"/>
                        <a:ext cx="3052984" cy="432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t 3">
            <a:extLst>
              <a:ext uri="{FF2B5EF4-FFF2-40B4-BE49-F238E27FC236}">
                <a16:creationId xmlns:a16="http://schemas.microsoft.com/office/drawing/2014/main" id="{4302F992-349D-86C9-8FF1-250477CEEDC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1303561"/>
              </p:ext>
            </p:extLst>
          </p:nvPr>
        </p:nvGraphicFramePr>
        <p:xfrm>
          <a:off x="5257235" y="1752108"/>
          <a:ext cx="3052981" cy="432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5" imgW="5667139" imgH="8019880" progId="Acrobat.Document.DC">
                  <p:embed/>
                </p:oleObj>
              </mc:Choice>
              <mc:Fallback>
                <p:oleObj name="Acrobat Document" r:id="rId5" imgW="5667139" imgH="8019880" progId="Acrobat.Document.DC">
                  <p:embed/>
                  <p:pic>
                    <p:nvPicPr>
                      <p:cNvPr id="4" name="Objet 3">
                        <a:extLst>
                          <a:ext uri="{FF2B5EF4-FFF2-40B4-BE49-F238E27FC236}">
                            <a16:creationId xmlns:a16="http://schemas.microsoft.com/office/drawing/2014/main" id="{4302F992-349D-86C9-8FF1-250477CEED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57235" y="1752108"/>
                        <a:ext cx="3052981" cy="4320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664064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oneTexte 11">
            <a:extLst>
              <a:ext uri="{FF2B5EF4-FFF2-40B4-BE49-F238E27FC236}">
                <a16:creationId xmlns:a16="http://schemas.microsoft.com/office/drawing/2014/main" id="{9F7D5C10-C1DF-4EE9-B061-DF9FD5FDC091}"/>
              </a:ext>
            </a:extLst>
          </p:cNvPr>
          <p:cNvSpPr txBox="1"/>
          <p:nvPr/>
        </p:nvSpPr>
        <p:spPr>
          <a:xfrm>
            <a:off x="795481" y="845140"/>
            <a:ext cx="77412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ion des vérificateurs de comptes 2023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AB09AC4-CEA3-4875-A5DB-E8DE63030DCC}"/>
              </a:ext>
            </a:extLst>
          </p:cNvPr>
          <p:cNvCxnSpPr>
            <a:cxnSpLocks/>
          </p:cNvCxnSpPr>
          <p:nvPr/>
        </p:nvCxnSpPr>
        <p:spPr>
          <a:xfrm>
            <a:off x="859536" y="1517904"/>
            <a:ext cx="109728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F04BE382-74FB-4D7F-82AC-393C73E8776D}"/>
              </a:ext>
            </a:extLst>
          </p:cNvPr>
          <p:cNvCxnSpPr>
            <a:cxnSpLocks/>
          </p:cNvCxnSpPr>
          <p:nvPr/>
        </p:nvCxnSpPr>
        <p:spPr>
          <a:xfrm>
            <a:off x="859536" y="6306312"/>
            <a:ext cx="1098194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CFA7F7A-9D00-40CD-B17C-15B17F620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136" y="6347880"/>
            <a:ext cx="2743200" cy="365125"/>
          </a:xfrm>
        </p:spPr>
        <p:txBody>
          <a:bodyPr rIns="0"/>
          <a:lstStyle/>
          <a:p>
            <a:fld id="{896FAA0E-1349-4C2E-95E3-CBEE3C1D9BF5}" type="slidenum">
              <a:rPr lang="fr-CH" sz="1000" smtClean="0">
                <a:latin typeface="Arial" panose="020B0604020202020204" pitchFamily="34" charset="0"/>
                <a:cs typeface="Arial" panose="020B0604020202020204" pitchFamily="34" charset="0"/>
              </a:rPr>
              <a:t>15</a:t>
            </a:fld>
            <a:endParaRPr lang="fr-CH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Tableau 8">
            <a:extLst>
              <a:ext uri="{FF2B5EF4-FFF2-40B4-BE49-F238E27FC236}">
                <a16:creationId xmlns:a16="http://schemas.microsoft.com/office/drawing/2014/main" id="{D150E673-1918-439A-8892-F0ED0B3D5C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291115"/>
              </p:ext>
            </p:extLst>
          </p:nvPr>
        </p:nvGraphicFramePr>
        <p:xfrm>
          <a:off x="2508074" y="3546000"/>
          <a:ext cx="7675722" cy="21524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33809">
                  <a:extLst>
                    <a:ext uri="{9D8B030D-6E8A-4147-A177-3AD203B41FA5}">
                      <a16:colId xmlns:a16="http://schemas.microsoft.com/office/drawing/2014/main" val="2815027770"/>
                    </a:ext>
                  </a:extLst>
                </a:gridCol>
                <a:gridCol w="410818">
                  <a:extLst>
                    <a:ext uri="{9D8B030D-6E8A-4147-A177-3AD203B41FA5}">
                      <a16:colId xmlns:a16="http://schemas.microsoft.com/office/drawing/2014/main" val="1031482357"/>
                    </a:ext>
                  </a:extLst>
                </a:gridCol>
                <a:gridCol w="3631095">
                  <a:extLst>
                    <a:ext uri="{9D8B030D-6E8A-4147-A177-3AD203B41FA5}">
                      <a16:colId xmlns:a16="http://schemas.microsoft.com/office/drawing/2014/main" val="2636992847"/>
                    </a:ext>
                  </a:extLst>
                </a:gridCol>
              </a:tblGrid>
              <a:tr h="717476">
                <a:tc>
                  <a:txBody>
                    <a:bodyPr/>
                    <a:lstStyle/>
                    <a:p>
                      <a:pPr algn="l" fontAlgn="b"/>
                      <a:r>
                        <a:rPr lang="fr-CH" sz="2800" u="none" strike="noStrike" dirty="0">
                          <a:effectLst/>
                          <a:latin typeface="+mn-lt"/>
                        </a:rPr>
                        <a:t>1</a:t>
                      </a:r>
                      <a:r>
                        <a:rPr lang="fr-CH" sz="2800" u="none" strike="noStrike" baseline="30000" dirty="0">
                          <a:effectLst/>
                          <a:latin typeface="+mn-lt"/>
                        </a:rPr>
                        <a:t>ère</a:t>
                      </a:r>
                      <a:r>
                        <a:rPr lang="fr-CH" sz="2800" u="none" strike="noStrike" dirty="0">
                          <a:effectLst/>
                          <a:latin typeface="+mn-lt"/>
                        </a:rPr>
                        <a:t> vérificateur</a:t>
                      </a:r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2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Manuela Magni</a:t>
                      </a:r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765700"/>
                  </a:ext>
                </a:extLst>
              </a:tr>
              <a:tr h="717476">
                <a:tc>
                  <a:txBody>
                    <a:bodyPr/>
                    <a:lstStyle/>
                    <a:p>
                      <a:pPr algn="l" fontAlgn="b"/>
                      <a:r>
                        <a:rPr lang="fr-CH" sz="2800" u="none" strike="noStrike" dirty="0">
                          <a:effectLst/>
                          <a:latin typeface="+mn-lt"/>
                        </a:rPr>
                        <a:t>2</a:t>
                      </a:r>
                      <a:r>
                        <a:rPr lang="fr-CH" sz="2800" u="none" strike="noStrike" baseline="30000" dirty="0">
                          <a:effectLst/>
                          <a:latin typeface="+mn-lt"/>
                        </a:rPr>
                        <a:t>ème</a:t>
                      </a:r>
                      <a:r>
                        <a:rPr lang="fr-CH" sz="2800" u="none" strike="noStrike" dirty="0">
                          <a:effectLst/>
                          <a:latin typeface="+mn-lt"/>
                        </a:rPr>
                        <a:t> vérificateu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: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CH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ean-Pierre </a:t>
                      </a:r>
                      <a:r>
                        <a:rPr lang="fr-CH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iacobetti</a:t>
                      </a:r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876794"/>
                  </a:ext>
                </a:extLst>
              </a:tr>
              <a:tr h="717476">
                <a:tc>
                  <a:txBody>
                    <a:bodyPr/>
                    <a:lstStyle/>
                    <a:p>
                      <a:pPr algn="l" fontAlgn="b"/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CH" sz="2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832595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5420EE4B-BB71-4176-AEAC-33308214076C}"/>
              </a:ext>
            </a:extLst>
          </p:cNvPr>
          <p:cNvSpPr txBox="1"/>
          <p:nvPr/>
        </p:nvSpPr>
        <p:spPr>
          <a:xfrm>
            <a:off x="795481" y="1809677"/>
            <a:ext cx="110368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800" dirty="0"/>
              <a:t>Proposition est faite de reconduire les mêmes vérificateurs que ceux ayant </a:t>
            </a:r>
            <a:r>
              <a:rPr lang="fr-CH" sz="2800"/>
              <a:t>officiés l’année.</a:t>
            </a:r>
            <a:endParaRPr lang="fr-CH" sz="2800" dirty="0"/>
          </a:p>
        </p:txBody>
      </p:sp>
      <p:pic>
        <p:nvPicPr>
          <p:cNvPr id="10" name="Grafik 9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1882554D-716F-4FB8-AB1E-A19B84A606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152" y="373488"/>
            <a:ext cx="2535184" cy="107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0717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5. Election du Comité 2023</a:t>
            </a:r>
          </a:p>
        </p:txBody>
      </p:sp>
    </p:spTree>
    <p:extLst>
      <p:ext uri="{BB962C8B-B14F-4D97-AF65-F5344CB8AC3E}">
        <p14:creationId xmlns:p14="http://schemas.microsoft.com/office/powerpoint/2010/main" val="3999664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position de Comité de section 2023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Intégration de 3 nouveaux membres en 2022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1A691184-8D20-0FC0-0ADD-803E1C914E0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95" t="8065" r="595" b="13448"/>
          <a:stretch/>
        </p:blipFill>
        <p:spPr>
          <a:xfrm>
            <a:off x="9417800" y="2861460"/>
            <a:ext cx="650655" cy="64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6507E6E4-C294-E008-7D52-D0B39595C4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" t="1" r="1346" b="26135"/>
          <a:stretch/>
        </p:blipFill>
        <p:spPr>
          <a:xfrm>
            <a:off x="8849051" y="4806508"/>
            <a:ext cx="647089" cy="64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444C68D3-B0BC-7518-E874-B742775FD36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" t="1887" r="-145" b="6667"/>
          <a:stretch/>
        </p:blipFill>
        <p:spPr>
          <a:xfrm>
            <a:off x="5567930" y="4907123"/>
            <a:ext cx="647959" cy="64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 Box 26">
            <a:extLst>
              <a:ext uri="{FF2B5EF4-FFF2-40B4-BE49-F238E27FC236}">
                <a16:creationId xmlns:a16="http://schemas.microsoft.com/office/drawing/2014/main" id="{A860F595-7BA9-8F1D-ADA6-4FA7ECEEB8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465" y="3528237"/>
            <a:ext cx="2880000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rence Gilardi</a:t>
            </a: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embre de Comité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MQ, Services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tre en place et gérer système Qua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aniser des conférences</a:t>
            </a:r>
            <a:endParaRPr lang="fr-CH" sz="1000" b="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Box 26">
            <a:extLst>
              <a:ext uri="{FF2B5EF4-FFF2-40B4-BE49-F238E27FC236}">
                <a16:creationId xmlns:a16="http://schemas.microsoft.com/office/drawing/2014/main" id="{B7E663B0-E24D-B3B4-0E21-BCEA4A084B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7340" y="2106204"/>
            <a:ext cx="3173797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>
            <a:defPPr>
              <a:defRPr lang="de-CH"/>
            </a:defPPr>
            <a:lvl1pPr algn="ctr">
              <a:lnSpc>
                <a:spcPct val="115000"/>
              </a:lnSpc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Laurent Fuster, Secrétaire.</a:t>
            </a:r>
          </a:p>
          <a:p>
            <a:pPr algn="l">
              <a:lnSpc>
                <a:spcPct val="100000"/>
              </a:lnSpc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Expertise: AQ, Six Sigma, Industrie.</a:t>
            </a:r>
          </a:p>
          <a:p>
            <a:pPr algn="l">
              <a:lnSpc>
                <a:spcPct val="100000"/>
              </a:lnSpc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Responsabilités:</a:t>
            </a:r>
          </a:p>
          <a:p>
            <a:pPr marL="171450" indent="-1714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Gérer administratif</a:t>
            </a:r>
          </a:p>
          <a:p>
            <a:pPr marL="171450" indent="-1714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Orienter thématiques</a:t>
            </a:r>
          </a:p>
          <a:p>
            <a:pPr marL="171450" indent="-17145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+mn-lt"/>
              </a:rPr>
              <a:t>Organiser des conférences</a:t>
            </a:r>
          </a:p>
        </p:txBody>
      </p:sp>
      <p:sp>
        <p:nvSpPr>
          <p:cNvPr id="9" name="Text Box 26">
            <a:extLst>
              <a:ext uri="{FF2B5EF4-FFF2-40B4-BE49-F238E27FC236}">
                <a16:creationId xmlns:a16="http://schemas.microsoft.com/office/drawing/2014/main" id="{2FC0BC68-AEC0-FE78-EA1D-18605B2A45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295" y="5253714"/>
            <a:ext cx="3025279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érôme Simone, Trésorier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MQ, Industrie, Services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  <a:endParaRPr lang="fr-CH" sz="1000" b="0" dirty="0">
              <a:solidFill>
                <a:schemeClr val="bg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rer trésorerie de la s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blir bilan annu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</p:txBody>
      </p:sp>
      <p:sp>
        <p:nvSpPr>
          <p:cNvPr id="13" name="Text Box 26">
            <a:extLst>
              <a:ext uri="{FF2B5EF4-FFF2-40B4-BE49-F238E27FC236}">
                <a16:creationId xmlns:a16="http://schemas.microsoft.com/office/drawing/2014/main" id="{B7E8C564-7921-3604-58A1-7BD6B0B9D2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8300" y="2108169"/>
            <a:ext cx="3320218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ophe </a:t>
            </a: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sseau, Membre de Comité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Lean, Leadership, Industrie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er des conférences</a:t>
            </a:r>
          </a:p>
        </p:txBody>
      </p:sp>
      <p:sp>
        <p:nvSpPr>
          <p:cNvPr id="16" name="Text Box 26">
            <a:extLst>
              <a:ext uri="{FF2B5EF4-FFF2-40B4-BE49-F238E27FC236}">
                <a16:creationId xmlns:a16="http://schemas.microsoft.com/office/drawing/2014/main" id="{ACFCD7BD-8166-001B-32DE-4FD12C6FD3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9543" y="3651070"/>
            <a:ext cx="3173798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achim Fernandes, Président de Section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MQ, </a:t>
            </a:r>
            <a:r>
              <a:rPr lang="fr-CH" sz="1000" dirty="0" err="1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x</a:t>
            </a: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anagement, Industrie. Responsabilité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er Plan de S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rer et représenter la se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ésider le Comité de Section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88F301D7-E705-83C7-4B21-7F9D1A8F55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47574" y="4609707"/>
            <a:ext cx="648000" cy="64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B8B7E4F0-A07C-80D7-3DF2-743550F44F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4489" y="2859484"/>
            <a:ext cx="651952" cy="65195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B1703C98-0E24-4043-F1AF-BE21A1B89B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3341" y="1460169"/>
            <a:ext cx="648000" cy="64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2" name="Picture 4" descr="Christophe Rousseau">
            <a:extLst>
              <a:ext uri="{FF2B5EF4-FFF2-40B4-BE49-F238E27FC236}">
                <a16:creationId xmlns:a16="http://schemas.microsoft.com/office/drawing/2014/main" id="{6444A267-2467-E988-2766-E2E0827A3E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300" y="1464453"/>
            <a:ext cx="648000" cy="648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55FA8D07-B109-ABFA-1063-86534679945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75" t="2733" r="31781" b="18217"/>
          <a:stretch/>
        </p:blipFill>
        <p:spPr>
          <a:xfrm>
            <a:off x="5575544" y="3002580"/>
            <a:ext cx="648000" cy="64849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Text Box 26">
            <a:extLst>
              <a:ext uri="{FF2B5EF4-FFF2-40B4-BE49-F238E27FC236}">
                <a16:creationId xmlns:a16="http://schemas.microsoft.com/office/drawing/2014/main" id="{7F18A982-9B73-8A71-7744-2631D03459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9544" y="5545368"/>
            <a:ext cx="28800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rre-André Brechbühl, Membre de Comité, Expertise: Digital, Services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er des conférences</a:t>
            </a:r>
          </a:p>
        </p:txBody>
      </p:sp>
      <p:sp>
        <p:nvSpPr>
          <p:cNvPr id="35" name="Text Box 26">
            <a:extLst>
              <a:ext uri="{FF2B5EF4-FFF2-40B4-BE49-F238E27FC236}">
                <a16:creationId xmlns:a16="http://schemas.microsoft.com/office/drawing/2014/main" id="{1ADADF2A-BAF7-B2AA-0EEF-9709FA248A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04455" y="3511436"/>
            <a:ext cx="2880000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ris Manz</a:t>
            </a: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embre de Comité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BEX, Soins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er des conférences</a:t>
            </a:r>
          </a:p>
        </p:txBody>
      </p:sp>
      <p:sp>
        <p:nvSpPr>
          <p:cNvPr id="36" name="Text Box 26">
            <a:extLst>
              <a:ext uri="{FF2B5EF4-FFF2-40B4-BE49-F238E27FC236}">
                <a16:creationId xmlns:a16="http://schemas.microsoft.com/office/drawing/2014/main" id="{0D7AAA30-1ADC-2211-60D2-5FB10F5E57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25704" y="5454508"/>
            <a:ext cx="3814023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>
            <a:spAutoFit/>
          </a:bodyPr>
          <a:lstStyle/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vin Greenwood, Membre de Comité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ise: MedTech, GMP, Industrie, Services.</a:t>
            </a:r>
          </a:p>
          <a:p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té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er thématiq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CH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er des conférences</a:t>
            </a:r>
          </a:p>
        </p:txBody>
      </p:sp>
    </p:spTree>
    <p:extLst>
      <p:ext uri="{BB962C8B-B14F-4D97-AF65-F5344CB8AC3E}">
        <p14:creationId xmlns:p14="http://schemas.microsoft.com/office/powerpoint/2010/main" val="7018857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6. Plan de Section 2023</a:t>
            </a:r>
          </a:p>
        </p:txBody>
      </p:sp>
    </p:spTree>
    <p:extLst>
      <p:ext uri="{BB962C8B-B14F-4D97-AF65-F5344CB8AC3E}">
        <p14:creationId xmlns:p14="http://schemas.microsoft.com/office/powerpoint/2010/main" val="6125789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genda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>
          <a:xfrm>
            <a:off x="2637691" y="1660525"/>
            <a:ext cx="9218309" cy="4739759"/>
          </a:xfrm>
        </p:spPr>
        <p:txBody>
          <a:bodyPr/>
          <a:lstStyle/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LISTE DES PRÉSENCES</a:t>
            </a:r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APPROBATION DU PROCÈS-VERBAL AG 2022</a:t>
            </a:r>
            <a:endParaRPr lang="fr-FR" sz="1800" dirty="0"/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RAPPORT DU PRÉSIDENT</a:t>
            </a:r>
            <a:endParaRPr lang="fr-FR" sz="1800" dirty="0"/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COMPTES</a:t>
            </a:r>
          </a:p>
          <a:p>
            <a:pPr lvl="1">
              <a:lnSpc>
                <a:spcPct val="100000"/>
              </a:lnSpc>
            </a:pPr>
            <a:r>
              <a:rPr lang="fr-CH" sz="1800" dirty="0"/>
              <a:t>RAPPORT DU CAISSIER ET DES VÉRIFICATEURS DE COMPTES 2022</a:t>
            </a:r>
            <a:endParaRPr lang="fr-FR" sz="1800" dirty="0"/>
          </a:p>
          <a:p>
            <a:pPr lvl="1">
              <a:lnSpc>
                <a:spcPct val="100000"/>
              </a:lnSpc>
            </a:pPr>
            <a:r>
              <a:rPr lang="fr-CH" sz="1800" dirty="0"/>
              <a:t>ELECTION DES VÉRIFICATEURS DE COMPTES 2023</a:t>
            </a:r>
            <a:endParaRPr lang="fr-FR" sz="1800" dirty="0"/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ELECTION DU COMITÉ 2023</a:t>
            </a:r>
            <a:endParaRPr lang="fr-FR" sz="1800" dirty="0"/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PLAN DE SECTION 2023</a:t>
            </a:r>
            <a:endParaRPr lang="fr-FR" sz="1800" dirty="0"/>
          </a:p>
          <a:p>
            <a:pPr marL="342900" lvl="0" indent="-342900">
              <a:lnSpc>
                <a:spcPct val="200000"/>
              </a:lnSpc>
              <a:buFont typeface="+mj-lt"/>
              <a:buAutoNum type="arabicPeriod"/>
            </a:pPr>
            <a:r>
              <a:rPr lang="fr-CH" sz="1800" dirty="0"/>
              <a:t>DIVERS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4883855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Enquête participants FOREP 2022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335998" y="999121"/>
            <a:ext cx="9249961" cy="215444"/>
          </a:xfrm>
        </p:spPr>
        <p:txBody>
          <a:bodyPr/>
          <a:lstStyle/>
          <a:p>
            <a:r>
              <a:rPr lang="fr-CH" dirty="0">
                <a:solidFill>
                  <a:schemeClr val="bg2">
                    <a:lumMod val="75000"/>
                  </a:schemeClr>
                </a:solidFill>
              </a:rPr>
              <a:t>TOP 5: Humain aspects, SST, Change Management &amp; Training, Management Qualité, Pilotage performanc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idx="16"/>
          </p:nvPr>
        </p:nvSpPr>
        <p:spPr/>
        <p:txBody>
          <a:bodyPr/>
          <a:lstStyle/>
          <a:p>
            <a:r>
              <a:rPr lang="fr-FR" dirty="0"/>
              <a:t>Source: FOREP 2019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8BAD85A-13C9-1233-7CE6-A4D97A3BE1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128" y="1488625"/>
            <a:ext cx="5660872" cy="4852258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28EC955-5AD5-DFA2-2155-201F9395A77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096000" y="1682339"/>
            <a:ext cx="5521237" cy="4658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4186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anifestations 2023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Assurer fréquentation moyenne de 35 participants</a:t>
            </a:r>
          </a:p>
        </p:txBody>
      </p:sp>
      <p:sp>
        <p:nvSpPr>
          <p:cNvPr id="9" name="Espace réservé du contenu 8"/>
          <p:cNvSpPr>
            <a:spLocks noGrp="1"/>
          </p:cNvSpPr>
          <p:nvPr>
            <p:ph idx="16"/>
          </p:nvPr>
        </p:nvSpPr>
        <p:spPr>
          <a:xfrm>
            <a:off x="335998" y="6541239"/>
            <a:ext cx="9249962" cy="153888"/>
          </a:xfrm>
        </p:spPr>
        <p:txBody>
          <a:bodyPr/>
          <a:lstStyle/>
          <a:p>
            <a:r>
              <a:rPr lang="fr-CH" baseline="30000" dirty="0"/>
              <a:t>*</a:t>
            </a:r>
            <a:r>
              <a:rPr lang="fr-CH" dirty="0"/>
              <a:t> = Evaluer 1 à 3 étoiles | ** Hors AG et FOREP  |  Manifs en </a:t>
            </a:r>
            <a:r>
              <a:rPr lang="fr-CH" dirty="0">
                <a:solidFill>
                  <a:schemeClr val="accent3"/>
                </a:solidFill>
              </a:rPr>
              <a:t>rouge</a:t>
            </a:r>
            <a:r>
              <a:rPr lang="fr-CH" dirty="0"/>
              <a:t> = décision à prendre</a:t>
            </a:r>
          </a:p>
        </p:txBody>
      </p:sp>
      <p:pic>
        <p:nvPicPr>
          <p:cNvPr id="7" name="Picture 2" descr="C:\Users\Joachim.Fernandes\Documents\SAQ\32-Roadmap\magnify_desk_calendar_month_view_1600_clr_387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337" y="341483"/>
            <a:ext cx="1224576" cy="765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55D8D31D-0CC5-8FF3-496C-EC88542EF8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736234"/>
              </p:ext>
            </p:extLst>
          </p:nvPr>
        </p:nvGraphicFramePr>
        <p:xfrm>
          <a:off x="1416000" y="1682496"/>
          <a:ext cx="9360000" cy="3834000"/>
        </p:xfrm>
        <a:graphic>
          <a:graphicData uri="http://schemas.openxmlformats.org/drawingml/2006/table">
            <a:tbl>
              <a:tblPr firstRow="1" lastRow="1" bandRow="1">
                <a:tableStyleId>{F5AB1C69-6EDB-4FF4-983F-18BD219EF322}</a:tableStyleId>
              </a:tblPr>
              <a:tblGrid>
                <a:gridCol w="100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666628215"/>
                    </a:ext>
                  </a:extLst>
                </a:gridCol>
                <a:gridCol w="979417">
                  <a:extLst>
                    <a:ext uri="{9D8B030D-6E8A-4147-A177-3AD203B41FA5}">
                      <a16:colId xmlns:a16="http://schemas.microsoft.com/office/drawing/2014/main" val="1392671485"/>
                    </a:ext>
                  </a:extLst>
                </a:gridCol>
                <a:gridCol w="1036583">
                  <a:extLst>
                    <a:ext uri="{9D8B030D-6E8A-4147-A177-3AD203B41FA5}">
                      <a16:colId xmlns:a16="http://schemas.microsoft.com/office/drawing/2014/main" val="1802980175"/>
                    </a:ext>
                  </a:extLst>
                </a:gridCol>
              </a:tblGrid>
              <a:tr h="522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Confér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Lieu/Form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articipant</a:t>
                      </a:r>
                      <a:r>
                        <a:rPr lang="fr-CH" sz="1200" baseline="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 </a:t>
                      </a: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otentie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articipants</a:t>
                      </a:r>
                      <a:r>
                        <a:rPr lang="fr-CH" sz="1200" baseline="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 </a:t>
                      </a: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effecti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Evaluation</a:t>
                      </a:r>
                      <a:r>
                        <a:rPr lang="fr-CH" sz="1200" baseline="300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6 MAI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Extension des délais - </a:t>
                      </a:r>
                      <a:r>
                        <a:rPr lang="fr-CH" sz="1200" kern="120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nvx</a:t>
                      </a:r>
                      <a:r>
                        <a:rPr lang="fr-CH" sz="1200" kern="120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règlements européens D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  <a:endParaRPr lang="fr-CH" sz="1200" kern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-30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359057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+mn-ea"/>
                          <a:cs typeface="Calibri" charset="0"/>
                        </a:rPr>
                        <a:t>31 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Gestion de crise selon </a:t>
                      </a:r>
                      <a:r>
                        <a:rPr lang="fr-CH" sz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kyGuide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Aérodrome, Payer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40-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4 JUN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AQ VD – AG 20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  <a:endParaRPr lang="fr-CH" sz="1200" kern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171651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2 JUN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ransformation Digitale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Part 1/5 – Modèle </a:t>
                      </a:r>
                      <a:r>
                        <a:rPr lang="fr-CH" sz="1200" baseline="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Opérat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  <a:endParaRPr lang="fr-CH" sz="1200" kern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-30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kern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541547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4 SEPT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ransformation Digitale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Part 2/5 – L’Industrie 4.0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Cave de la Co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40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02 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FOREP 2023 – </a:t>
                      </a:r>
                      <a:r>
                        <a:rPr lang="fr-CH" sz="1200" noProof="0" dirty="0" err="1">
                          <a:latin typeface="Calibri" charset="0"/>
                          <a:ea typeface="Calibri" charset="0"/>
                          <a:cs typeface="Calibri" charset="0"/>
                        </a:rPr>
                        <a:t>tbd</a:t>
                      </a:r>
                      <a:endParaRPr lang="fr-CH" sz="1200" noProof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STCC, EPF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3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23 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ransformation Digitale Part 3/5 – Les Serv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bd</a:t>
                      </a:r>
                      <a:endParaRPr lang="fr-CH" sz="1200" kern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tbd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.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32000">
                <a:tc gridSpan="3">
                  <a:txBody>
                    <a:bodyPr/>
                    <a:lstStyle/>
                    <a:p>
                      <a:pPr algn="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Fréquentation moyenne </a:t>
                      </a:r>
                      <a:r>
                        <a:rPr lang="fr-CH" sz="1200" baseline="300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fr-CH" sz="1200" baseline="30000" noProof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/>
                      <a:endParaRPr lang="fr-CH" sz="1200" baseline="30000" noProof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3657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02361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7. Divers</a:t>
            </a:r>
          </a:p>
        </p:txBody>
      </p:sp>
    </p:spTree>
    <p:extLst>
      <p:ext uri="{BB962C8B-B14F-4D97-AF65-F5344CB8AC3E}">
        <p14:creationId xmlns:p14="http://schemas.microsoft.com/office/powerpoint/2010/main" val="14614526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Divers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455" y="2058450"/>
            <a:ext cx="1092200" cy="6477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525" y="1791231"/>
            <a:ext cx="3810000" cy="12700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089" y="4046893"/>
            <a:ext cx="965200" cy="1003300"/>
          </a:xfrm>
          <a:prstGeom prst="rect">
            <a:avLst/>
          </a:prstGeom>
        </p:spPr>
      </p:pic>
      <p:sp>
        <p:nvSpPr>
          <p:cNvPr id="9" name="Flèche vers la droite 8"/>
          <p:cNvSpPr/>
          <p:nvPr/>
        </p:nvSpPr>
        <p:spPr>
          <a:xfrm>
            <a:off x="1576869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 vers la droite 9"/>
          <p:cNvSpPr/>
          <p:nvPr/>
        </p:nvSpPr>
        <p:spPr>
          <a:xfrm>
            <a:off x="4307131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lèche vers la droite 10"/>
          <p:cNvSpPr/>
          <p:nvPr/>
        </p:nvSpPr>
        <p:spPr>
          <a:xfrm rot="5400000">
            <a:off x="5579133" y="3232156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4624369" y="5160468"/>
            <a:ext cx="31573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>
                <a:solidFill>
                  <a:srgbClr val="C00000"/>
                </a:solidFill>
              </a:rPr>
              <a:t>Lever la main pour intervenir.</a:t>
            </a:r>
            <a:endParaRPr lang="fr-FR" sz="1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184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768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ment interagir sur Zoom?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/>
          </p:nvPr>
        </p:nvSpPr>
        <p:spPr>
          <a:xfrm>
            <a:off x="335998" y="999121"/>
            <a:ext cx="9249961" cy="215444"/>
          </a:xfrm>
        </p:spPr>
        <p:txBody>
          <a:bodyPr/>
          <a:lstStyle/>
          <a:p>
            <a:r>
              <a:rPr lang="fr-FR" dirty="0"/>
              <a:t>Utiliser la fonction « Réactions »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455" y="2058450"/>
            <a:ext cx="1092200" cy="6477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525" y="1791231"/>
            <a:ext cx="3810000" cy="127000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7381" y="4021493"/>
            <a:ext cx="876300" cy="1054100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089" y="4046893"/>
            <a:ext cx="965200" cy="1003300"/>
          </a:xfrm>
          <a:prstGeom prst="rect">
            <a:avLst/>
          </a:prstGeom>
        </p:spPr>
      </p:pic>
      <p:sp>
        <p:nvSpPr>
          <p:cNvPr id="11" name="Flèche vers la droite 10"/>
          <p:cNvSpPr/>
          <p:nvPr/>
        </p:nvSpPr>
        <p:spPr>
          <a:xfrm>
            <a:off x="1576869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Flèche vers la droite 11"/>
          <p:cNvSpPr/>
          <p:nvPr/>
        </p:nvSpPr>
        <p:spPr>
          <a:xfrm>
            <a:off x="4307131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lèche vers la droite 12"/>
          <p:cNvSpPr/>
          <p:nvPr/>
        </p:nvSpPr>
        <p:spPr>
          <a:xfrm rot="5400000">
            <a:off x="5579133" y="3232156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Flèche vers la droite 13"/>
          <p:cNvSpPr/>
          <p:nvPr/>
        </p:nvSpPr>
        <p:spPr>
          <a:xfrm rot="5400000">
            <a:off x="8312976" y="3232157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ZoneTexte 14"/>
          <p:cNvSpPr txBox="1"/>
          <p:nvPr/>
        </p:nvSpPr>
        <p:spPr>
          <a:xfrm>
            <a:off x="4624369" y="5160468"/>
            <a:ext cx="267477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C00000"/>
                </a:solidFill>
              </a:rPr>
              <a:t>Lever la main pour:</a:t>
            </a:r>
          </a:p>
          <a:p>
            <a:pPr marL="342900" indent="-342900">
              <a:buFont typeface="Arial" charset="0"/>
              <a:buChar char="•"/>
            </a:pPr>
            <a:r>
              <a:rPr lang="fr-FR" sz="1600" dirty="0">
                <a:solidFill>
                  <a:srgbClr val="C00000"/>
                </a:solidFill>
              </a:rPr>
              <a:t>Liste des présences</a:t>
            </a:r>
          </a:p>
          <a:p>
            <a:pPr marL="342900" indent="-342900">
              <a:buFont typeface="Arial" charset="0"/>
              <a:buChar char="•"/>
            </a:pPr>
            <a:r>
              <a:rPr lang="fr-FR" sz="1600" dirty="0">
                <a:solidFill>
                  <a:srgbClr val="C00000"/>
                </a:solidFill>
              </a:rPr>
              <a:t>Demander la parole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358143" y="5160467"/>
            <a:ext cx="26747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C00000"/>
                </a:solidFill>
              </a:rPr>
              <a:t>Lever le pousse pour:</a:t>
            </a:r>
          </a:p>
          <a:p>
            <a:pPr marL="342900" indent="-342900">
              <a:buFont typeface="Arial" charset="0"/>
              <a:buChar char="•"/>
            </a:pPr>
            <a:r>
              <a:rPr lang="fr-FR" sz="1600" dirty="0">
                <a:solidFill>
                  <a:srgbClr val="C00000"/>
                </a:solidFill>
              </a:rPr>
              <a:t>Voter</a:t>
            </a:r>
          </a:p>
        </p:txBody>
      </p:sp>
    </p:spTree>
    <p:extLst>
      <p:ext uri="{BB962C8B-B14F-4D97-AF65-F5344CB8AC3E}">
        <p14:creationId xmlns:p14="http://schemas.microsoft.com/office/powerpoint/2010/main" val="106511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1. </a:t>
            </a:r>
            <a:r>
              <a:rPr lang="fr-FR"/>
              <a:t>Liste de Présenc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515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iste des Présences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8455" y="2058450"/>
            <a:ext cx="1092200" cy="64770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525" y="1791231"/>
            <a:ext cx="3810000" cy="12700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089" y="4046893"/>
            <a:ext cx="965200" cy="1003300"/>
          </a:xfrm>
          <a:prstGeom prst="rect">
            <a:avLst/>
          </a:prstGeom>
        </p:spPr>
      </p:pic>
      <p:sp>
        <p:nvSpPr>
          <p:cNvPr id="9" name="Flèche vers la droite 8"/>
          <p:cNvSpPr/>
          <p:nvPr/>
        </p:nvSpPr>
        <p:spPr>
          <a:xfrm>
            <a:off x="1576869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Flèche vers la droite 9"/>
          <p:cNvSpPr/>
          <p:nvPr/>
        </p:nvSpPr>
        <p:spPr>
          <a:xfrm>
            <a:off x="4307131" y="2071395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Flèche vers la droite 10"/>
          <p:cNvSpPr/>
          <p:nvPr/>
        </p:nvSpPr>
        <p:spPr>
          <a:xfrm rot="5400000">
            <a:off x="5579133" y="3232156"/>
            <a:ext cx="765110" cy="643813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4624368" y="5160468"/>
            <a:ext cx="32693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C00000"/>
                </a:solidFill>
              </a:rPr>
              <a:t>Signifier le statut de membre SAQ en levant </a:t>
            </a:r>
            <a:r>
              <a:rPr lang="fr-FR" sz="1600">
                <a:solidFill>
                  <a:srgbClr val="C00000"/>
                </a:solidFill>
              </a:rPr>
              <a:t>la mise</a:t>
            </a:r>
            <a:endParaRPr lang="fr-FR" sz="16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6188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2. PV AG 2022</a:t>
            </a:r>
          </a:p>
        </p:txBody>
      </p:sp>
    </p:spTree>
    <p:extLst>
      <p:ext uri="{BB962C8B-B14F-4D97-AF65-F5344CB8AC3E}">
        <p14:creationId xmlns:p14="http://schemas.microsoft.com/office/powerpoint/2010/main" val="16749137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BD08E601-2F52-3045-140F-FB7ED35884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9410" y="1555933"/>
            <a:ext cx="3231205" cy="46187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A20CD75-7599-19C8-6258-442C5C417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821" y="1555933"/>
            <a:ext cx="3239999" cy="46226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Approbation du PV de l’AG 2022</a:t>
            </a:r>
            <a:endParaRPr lang="fr-FR" dirty="0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7E460A00-5C93-EC15-4A8D-5C9E94F1A8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03002" y="1555933"/>
            <a:ext cx="3231205" cy="462252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6262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. Rapport du Président</a:t>
            </a:r>
          </a:p>
        </p:txBody>
      </p:sp>
    </p:spTree>
    <p:extLst>
      <p:ext uri="{BB962C8B-B14F-4D97-AF65-F5344CB8AC3E}">
        <p14:creationId xmlns:p14="http://schemas.microsoft.com/office/powerpoint/2010/main" val="1060406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Roadmap Manifestations 2022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5"/>
          </p:nvPr>
        </p:nvSpPr>
        <p:spPr>
          <a:xfrm>
            <a:off x="335998" y="999121"/>
            <a:ext cx="9249961" cy="215444"/>
          </a:xfrm>
        </p:spPr>
        <p:txBody>
          <a:bodyPr/>
          <a:lstStyle/>
          <a:p>
            <a:r>
              <a:rPr lang="fr-FR" dirty="0"/>
              <a:t>Assurer dynamique. Tester des webinaires. Explorer collaboration avec France et Belgique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47BC055D-74FD-795C-9271-972DC6E9F6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4642314"/>
              </p:ext>
            </p:extLst>
          </p:nvPr>
        </p:nvGraphicFramePr>
        <p:xfrm>
          <a:off x="1414935" y="1596219"/>
          <a:ext cx="9362129" cy="4554000"/>
        </p:xfrm>
        <a:graphic>
          <a:graphicData uri="http://schemas.openxmlformats.org/drawingml/2006/table">
            <a:tbl>
              <a:tblPr firstRow="1" lastRow="1" bandRow="1">
                <a:tableStyleId>{F5AB1C69-6EDB-4FF4-983F-18BD219EF322}</a:tableStyleId>
              </a:tblPr>
              <a:tblGrid>
                <a:gridCol w="996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133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8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2666628215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392671485"/>
                    </a:ext>
                  </a:extLst>
                </a:gridCol>
                <a:gridCol w="1008000">
                  <a:extLst>
                    <a:ext uri="{9D8B030D-6E8A-4147-A177-3AD203B41FA5}">
                      <a16:colId xmlns:a16="http://schemas.microsoft.com/office/drawing/2014/main" val="1802980175"/>
                    </a:ext>
                  </a:extLst>
                </a:gridCol>
              </a:tblGrid>
              <a:tr h="522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Confér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Lieu/Forma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articipant</a:t>
                      </a:r>
                      <a:r>
                        <a:rPr lang="fr-CH" sz="1200" baseline="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 </a:t>
                      </a: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otentie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Participants</a:t>
                      </a:r>
                      <a:r>
                        <a:rPr lang="fr-CH" sz="1200" baseline="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 </a:t>
                      </a:r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effectif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Evaluation</a:t>
                      </a:r>
                      <a:r>
                        <a:rPr lang="fr-CH" sz="1200" baseline="300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9 F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AQ VD – AG 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Visioconf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1 FE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e Leadership holistique, Part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 M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e Change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Cave</a:t>
                      </a:r>
                      <a:r>
                        <a:rPr lang="fr-CH" sz="1200" baseline="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de la Cote</a:t>
                      </a:r>
                      <a:endParaRPr lang="fr-CH" sz="1200" noProof="0" dirty="0">
                        <a:solidFill>
                          <a:schemeClr val="accent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ANNU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accent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8 ma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e Leadership holistique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</a:t>
                      </a: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– IE et </a:t>
                      </a:r>
                      <a:r>
                        <a:rPr lang="fr-CH" sz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Comm</a:t>
                      </a: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. bienveillan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 MA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e Leadership holistique – Flux vibratoire &amp; Intui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92317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3 SEP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DDMRP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– G</a:t>
                      </a: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estion flux de Production et Pilotage S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0691982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6 SEP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e </a:t>
                      </a:r>
                      <a:r>
                        <a:rPr lang="fr-CH" sz="1200" noProof="0" dirty="0" err="1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MedTech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6924647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 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FOREP 2022 – La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Performance oui, mais durable!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STCC, EPF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3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&gt;27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3 NO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La Transformation Digitale</a:t>
                      </a:r>
                      <a:r>
                        <a:rPr lang="fr-CH" sz="1200" baseline="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 – Introduction</a:t>
                      </a:r>
                      <a:endParaRPr lang="fr-CH" sz="1200" noProof="0" dirty="0">
                        <a:solidFill>
                          <a:schemeClr val="tx1"/>
                        </a:solidFill>
                        <a:latin typeface="Calibri" charset="0"/>
                        <a:ea typeface="Calibri" charset="0"/>
                        <a:cs typeface="Calibri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kern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Webin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0-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2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H" sz="1200" noProof="0" dirty="0">
                          <a:solidFill>
                            <a:schemeClr val="tx1"/>
                          </a:solidFill>
                          <a:latin typeface="Calibri" charset="0"/>
                          <a:ea typeface="Calibri" charset="0"/>
                          <a:cs typeface="Calibri" charset="0"/>
                        </a:rPr>
                        <a:t>**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32000">
                <a:tc gridSpan="3">
                  <a:txBody>
                    <a:bodyPr/>
                    <a:lstStyle/>
                    <a:p>
                      <a:pPr algn="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Fréquentation moyenne </a:t>
                      </a:r>
                      <a:r>
                        <a:rPr lang="fr-CH" sz="1200" baseline="300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**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l"/>
                      <a:endParaRPr lang="fr-CH" sz="14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20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200" noProof="0" dirty="0">
                          <a:latin typeface="Calibri" charset="0"/>
                          <a:ea typeface="Calibri" charset="0"/>
                          <a:cs typeface="Calibri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36570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7343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70&quot; g=&quot;AD&quot; b=&quot;47&quot;/&gt;&lt;m_nBrightness val=&quot;0&quot;/&gt;&lt;/elem&gt;&lt;elem m_fUsage=&quot;9.00000000000000022204E-01&quot;&gt;&lt;m_msothmcolidx val=&quot;0&quot;/&gt;&lt;m_rgb r=&quot;ED&quot; g=&quot;7D&quot; b=&quot;31&quot;/&gt;&lt;m_nBrightness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">
      <a:dk1>
        <a:srgbClr val="000000"/>
      </a:dk1>
      <a:lt1>
        <a:srgbClr val="FFFFFF"/>
      </a:lt1>
      <a:dk2>
        <a:srgbClr val="5B5B5B"/>
      </a:dk2>
      <a:lt2>
        <a:srgbClr val="C0C0C0"/>
      </a:lt2>
      <a:accent1>
        <a:srgbClr val="808080"/>
      </a:accent1>
      <a:accent2>
        <a:srgbClr val="404040"/>
      </a:accent2>
      <a:accent3>
        <a:srgbClr val="AF272F"/>
      </a:accent3>
      <a:accent4>
        <a:srgbClr val="6FA287"/>
      </a:accent4>
      <a:accent5>
        <a:srgbClr val="002F6C"/>
      </a:accent5>
      <a:accent6>
        <a:srgbClr val="25282A"/>
      </a:accent6>
      <a:hlink>
        <a:srgbClr val="404040"/>
      </a:hlink>
      <a:folHlink>
        <a:srgbClr val="20202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4</TotalTime>
  <Words>936</Words>
  <Application>Microsoft Office PowerPoint</Application>
  <PresentationFormat>Grand écran</PresentationFormat>
  <Paragraphs>320</Paragraphs>
  <Slides>24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4</vt:i4>
      </vt:variant>
    </vt:vector>
  </HeadingPairs>
  <TitlesOfParts>
    <vt:vector size="32" baseType="lpstr">
      <vt:lpstr>Arial</vt:lpstr>
      <vt:lpstr>Calibri</vt:lpstr>
      <vt:lpstr>Corbel</vt:lpstr>
      <vt:lpstr>Times</vt:lpstr>
      <vt:lpstr>Wingdings</vt:lpstr>
      <vt:lpstr>Office Theme</vt:lpstr>
      <vt:lpstr>Diapositive think-cell</vt:lpstr>
      <vt:lpstr>Acrobat Document</vt:lpstr>
      <vt:lpstr>Assemblée Générale 2023</vt:lpstr>
      <vt:lpstr>Agenda</vt:lpstr>
      <vt:lpstr>Comment interagir sur Zoom?</vt:lpstr>
      <vt:lpstr>1. Liste de Présences</vt:lpstr>
      <vt:lpstr>Liste des Présences</vt:lpstr>
      <vt:lpstr>2. PV AG 2022</vt:lpstr>
      <vt:lpstr>Approbation du PV de l’AG 2022</vt:lpstr>
      <vt:lpstr>3. Rapport du Président</vt:lpstr>
      <vt:lpstr>Roadmap Manifestations 2022</vt:lpstr>
      <vt:lpstr>Fréquentation des manifestations 2022</vt:lpstr>
      <vt:lpstr>Membres de section 2022</vt:lpstr>
      <vt:lpstr>4. Comptes</vt:lpstr>
      <vt:lpstr>Présentation PowerPoint</vt:lpstr>
      <vt:lpstr>Présentation PowerPoint</vt:lpstr>
      <vt:lpstr>Présentation PowerPoint</vt:lpstr>
      <vt:lpstr>Présentation PowerPoint</vt:lpstr>
      <vt:lpstr>5. Election du Comité 2023</vt:lpstr>
      <vt:lpstr>Proposition de Comité de section 2023</vt:lpstr>
      <vt:lpstr>6. Plan de Section 2023</vt:lpstr>
      <vt:lpstr>Enquête participants FOREP 2022</vt:lpstr>
      <vt:lpstr>Manifestations 2023</vt:lpstr>
      <vt:lpstr>7. Divers</vt:lpstr>
      <vt:lpstr>Divers</vt:lpstr>
      <vt:lpstr>Présentation PowerPoint</vt:lpstr>
    </vt:vector>
  </TitlesOfParts>
  <Manager>joachim.fernandes@saq.ch</Manager>
  <Company>SAQ Swiss Association for Quality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template</dc:subject>
  <dc:creator>Joachim Fernandes</dc:creator>
  <cp:keywords>Template</cp:keywords>
  <dc:description/>
  <cp:lastModifiedBy>Joachim Fernandes</cp:lastModifiedBy>
  <cp:revision>291</cp:revision>
  <cp:lastPrinted>2018-02-08T13:11:23Z</cp:lastPrinted>
  <dcterms:created xsi:type="dcterms:W3CDTF">2018-01-04T14:01:28Z</dcterms:created>
  <dcterms:modified xsi:type="dcterms:W3CDTF">2023-06-15T07:36:03Z</dcterms:modified>
  <cp:category/>
</cp:coreProperties>
</file>